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0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36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6"/>
  </p:notesMasterIdLst>
  <p:sldIdLst>
    <p:sldId id="1428" r:id="rId2"/>
    <p:sldId id="1551" r:id="rId3"/>
    <p:sldId id="1552" r:id="rId4"/>
    <p:sldId id="1925" r:id="rId5"/>
    <p:sldId id="1922" r:id="rId6"/>
    <p:sldId id="1924" r:id="rId7"/>
    <p:sldId id="1907" r:id="rId8"/>
    <p:sldId id="1945" r:id="rId9"/>
    <p:sldId id="1946" r:id="rId10"/>
    <p:sldId id="1947" r:id="rId11"/>
    <p:sldId id="1948" r:id="rId12"/>
    <p:sldId id="1949" r:id="rId13"/>
    <p:sldId id="1950" r:id="rId14"/>
    <p:sldId id="1951" r:id="rId15"/>
    <p:sldId id="1952" r:id="rId16"/>
    <p:sldId id="1953" r:id="rId17"/>
    <p:sldId id="1954" r:id="rId18"/>
    <p:sldId id="1955" r:id="rId19"/>
    <p:sldId id="1956" r:id="rId20"/>
    <p:sldId id="1957" r:id="rId21"/>
    <p:sldId id="1958" r:id="rId22"/>
    <p:sldId id="1959" r:id="rId23"/>
    <p:sldId id="1960" r:id="rId24"/>
    <p:sldId id="1942" r:id="rId25"/>
    <p:sldId id="1474" r:id="rId26"/>
    <p:sldId id="1481" r:id="rId27"/>
    <p:sldId id="1482" r:id="rId28"/>
    <p:sldId id="1475" r:id="rId29"/>
    <p:sldId id="1483" r:id="rId30"/>
    <p:sldId id="1923" r:id="rId31"/>
    <p:sldId id="1476" r:id="rId32"/>
    <p:sldId id="1523" r:id="rId33"/>
    <p:sldId id="1524" r:id="rId34"/>
    <p:sldId id="1595" r:id="rId35"/>
    <p:sldId id="1639" r:id="rId36"/>
    <p:sldId id="1802" r:id="rId37"/>
    <p:sldId id="1829" r:id="rId38"/>
    <p:sldId id="1823" r:id="rId39"/>
    <p:sldId id="1845" r:id="rId40"/>
    <p:sldId id="1864" r:id="rId41"/>
    <p:sldId id="1866" r:id="rId42"/>
    <p:sldId id="1886" r:id="rId43"/>
    <p:sldId id="1592" r:id="rId44"/>
    <p:sldId id="1593" r:id="rId45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9966"/>
    <a:srgbClr val="FF9933"/>
    <a:srgbClr val="00B0F0"/>
    <a:srgbClr val="BFBFBF"/>
    <a:srgbClr val="A6A6A6"/>
    <a:srgbClr val="7F7F7F"/>
    <a:srgbClr val="8053F0"/>
    <a:srgbClr val="300C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400" autoAdjust="0"/>
  </p:normalViewPr>
  <p:slideViewPr>
    <p:cSldViewPr snapToGrid="0">
      <p:cViewPr varScale="1">
        <p:scale>
          <a:sx n="104" d="100"/>
          <a:sy n="104" d="100"/>
        </p:scale>
        <p:origin x="348" y="10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2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00259161526445E-2"/>
          <c:y val="4.7634439213742094E-2"/>
          <c:w val="0.94059218467024752"/>
          <c:h val="0.74577237874961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36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CF$1</c:f>
              <c:strCache>
                <c:ptCount val="83"/>
                <c:pt idx="0">
                  <c:v>27.4.–3.5.</c:v>
                </c:pt>
                <c:pt idx="1">
                  <c:v>4.5.–10.5.</c:v>
                </c:pt>
                <c:pt idx="2">
                  <c:v>11.5.–17.5.</c:v>
                </c:pt>
                <c:pt idx="3">
                  <c:v>18.5.–24.5.</c:v>
                </c:pt>
                <c:pt idx="4">
                  <c:v>25.5.–31.5.</c:v>
                </c:pt>
                <c:pt idx="5">
                  <c:v>1.6.–7.6.</c:v>
                </c:pt>
                <c:pt idx="6">
                  <c:v>8.6.–14.6.</c:v>
                </c:pt>
                <c:pt idx="7">
                  <c:v>15.6.–21.6.</c:v>
                </c:pt>
                <c:pt idx="8">
                  <c:v>22.6.–28.6.</c:v>
                </c:pt>
                <c:pt idx="9">
                  <c:v>29.6.–5.7.</c:v>
                </c:pt>
                <c:pt idx="10">
                  <c:v>6.7.–12.7.</c:v>
                </c:pt>
                <c:pt idx="11">
                  <c:v>13.7.–19.7.</c:v>
                </c:pt>
                <c:pt idx="12">
                  <c:v>20.7.–26.7.</c:v>
                </c:pt>
                <c:pt idx="13">
                  <c:v>27.7.–2.8.</c:v>
                </c:pt>
                <c:pt idx="14">
                  <c:v>3.8.–9.8.</c:v>
                </c:pt>
                <c:pt idx="15">
                  <c:v>10.8.–16.8.</c:v>
                </c:pt>
                <c:pt idx="16">
                  <c:v>17.8.–23.8.</c:v>
                </c:pt>
                <c:pt idx="17">
                  <c:v>24.8.–30.8.</c:v>
                </c:pt>
                <c:pt idx="18">
                  <c:v>31.8.–6.9.</c:v>
                </c:pt>
                <c:pt idx="19">
                  <c:v>7.9.–13.9.</c:v>
                </c:pt>
                <c:pt idx="20">
                  <c:v>14.9.–20.9.</c:v>
                </c:pt>
                <c:pt idx="21">
                  <c:v>21.9.–27.9.</c:v>
                </c:pt>
                <c:pt idx="22">
                  <c:v>28.9.–4.10.</c:v>
                </c:pt>
                <c:pt idx="23">
                  <c:v>5.10.–11.10.</c:v>
                </c:pt>
                <c:pt idx="24">
                  <c:v>12.10.–18.10.</c:v>
                </c:pt>
                <c:pt idx="25">
                  <c:v>19.10.–25.10.</c:v>
                </c:pt>
                <c:pt idx="26">
                  <c:v>26.10.–1.11.</c:v>
                </c:pt>
                <c:pt idx="27">
                  <c:v>2.11.–8.11.</c:v>
                </c:pt>
                <c:pt idx="28">
                  <c:v>9.11.–15.11.</c:v>
                </c:pt>
                <c:pt idx="29">
                  <c:v>16.11.–22.11.</c:v>
                </c:pt>
                <c:pt idx="30">
                  <c:v>23.11.–29.11.</c:v>
                </c:pt>
                <c:pt idx="31">
                  <c:v>30.11.–6.12.</c:v>
                </c:pt>
                <c:pt idx="32">
                  <c:v>7.12.–13.12.</c:v>
                </c:pt>
                <c:pt idx="33">
                  <c:v>14.12.–20.12.</c:v>
                </c:pt>
                <c:pt idx="34">
                  <c:v>21.12.–27.12.</c:v>
                </c:pt>
                <c:pt idx="35">
                  <c:v>28.12.–3.1.</c:v>
                </c:pt>
                <c:pt idx="36">
                  <c:v>4.1.–10.1.</c:v>
                </c:pt>
                <c:pt idx="37">
                  <c:v>11.1.–17.1.</c:v>
                </c:pt>
                <c:pt idx="38">
                  <c:v>18.1.–24.1.</c:v>
                </c:pt>
                <c:pt idx="39">
                  <c:v>25.1.–31.1.</c:v>
                </c:pt>
                <c:pt idx="40">
                  <c:v>1.2.–7.2.</c:v>
                </c:pt>
                <c:pt idx="41">
                  <c:v>8.2.–14.2.</c:v>
                </c:pt>
                <c:pt idx="42">
                  <c:v>15.2.–21.2.</c:v>
                </c:pt>
                <c:pt idx="43">
                  <c:v>22.2.–28.2.</c:v>
                </c:pt>
                <c:pt idx="44">
                  <c:v>1.3.–7.3.</c:v>
                </c:pt>
                <c:pt idx="45">
                  <c:v>8.3.–14.3.</c:v>
                </c:pt>
                <c:pt idx="46">
                  <c:v>15.3.–21.3.</c:v>
                </c:pt>
                <c:pt idx="47">
                  <c:v>22.3.–28.3.</c:v>
                </c:pt>
                <c:pt idx="48">
                  <c:v>29.3.–4.4.</c:v>
                </c:pt>
                <c:pt idx="49">
                  <c:v>5.4.–11.4.</c:v>
                </c:pt>
                <c:pt idx="50">
                  <c:v>12.4.–18.4.</c:v>
                </c:pt>
                <c:pt idx="51">
                  <c:v>19.4.–25.4.</c:v>
                </c:pt>
                <c:pt idx="52">
                  <c:v>26.4.–2.5.</c:v>
                </c:pt>
                <c:pt idx="53">
                  <c:v>3.5.–9.5.</c:v>
                </c:pt>
                <c:pt idx="54">
                  <c:v>10.5.–16.5.</c:v>
                </c:pt>
                <c:pt idx="55">
                  <c:v>17.5.–23.5.</c:v>
                </c:pt>
                <c:pt idx="56">
                  <c:v>24.5.–30.5.</c:v>
                </c:pt>
                <c:pt idx="57">
                  <c:v>31.5.–6.6.</c:v>
                </c:pt>
                <c:pt idx="58">
                  <c:v>7.6.–13.6.</c:v>
                </c:pt>
                <c:pt idx="59">
                  <c:v>14.6.–20.6.</c:v>
                </c:pt>
                <c:pt idx="60">
                  <c:v>21.6.–27.6.</c:v>
                </c:pt>
                <c:pt idx="61">
                  <c:v>28.6.–4.7.</c:v>
                </c:pt>
                <c:pt idx="62">
                  <c:v>5.7.–11.7.</c:v>
                </c:pt>
                <c:pt idx="63">
                  <c:v>12.7.–18.7.</c:v>
                </c:pt>
                <c:pt idx="64">
                  <c:v>19.7.–25.7.</c:v>
                </c:pt>
                <c:pt idx="65">
                  <c:v>26.7.–1.8.</c:v>
                </c:pt>
                <c:pt idx="66">
                  <c:v>2.8.–8.8.</c:v>
                </c:pt>
                <c:pt idx="67">
                  <c:v>9.8.–15.8.</c:v>
                </c:pt>
                <c:pt idx="68">
                  <c:v>16.8.–22.8.</c:v>
                </c:pt>
                <c:pt idx="69">
                  <c:v>23.8.–29.8.</c:v>
                </c:pt>
                <c:pt idx="70">
                  <c:v>30.8.–5.9.</c:v>
                </c:pt>
                <c:pt idx="71">
                  <c:v>6.9.–12.9.</c:v>
                </c:pt>
                <c:pt idx="72">
                  <c:v>13.9.–19.9.</c:v>
                </c:pt>
                <c:pt idx="73">
                  <c:v>20.9.–26.9.</c:v>
                </c:pt>
                <c:pt idx="74">
                  <c:v>27.9.–3.10.</c:v>
                </c:pt>
                <c:pt idx="75">
                  <c:v>4.10.–10.10.</c:v>
                </c:pt>
                <c:pt idx="76">
                  <c:v>11.10.–17.10.</c:v>
                </c:pt>
                <c:pt idx="77">
                  <c:v>18.10.–24.10.</c:v>
                </c:pt>
                <c:pt idx="78">
                  <c:v>25.10.–31.10.</c:v>
                </c:pt>
                <c:pt idx="79">
                  <c:v>1.11.–7.11.</c:v>
                </c:pt>
                <c:pt idx="80">
                  <c:v>8.11.–14.11.</c:v>
                </c:pt>
                <c:pt idx="81">
                  <c:v>15.11.–21.11.</c:v>
                </c:pt>
                <c:pt idx="82">
                  <c:v>22.11.–28.11.</c:v>
                </c:pt>
              </c:strCache>
            </c:strRef>
          </c:cat>
          <c:val>
            <c:numRef>
              <c:f>List1!$B$2:$CF$2</c:f>
              <c:numCache>
                <c:formatCode>General</c:formatCode>
                <c:ptCount val="83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  <c:pt idx="5">
                  <c:v>35</c:v>
                </c:pt>
                <c:pt idx="6">
                  <c:v>0</c:v>
                </c:pt>
                <c:pt idx="7">
                  <c:v>45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0</c:v>
                </c:pt>
                <c:pt idx="12">
                  <c:v>110</c:v>
                </c:pt>
                <c:pt idx="13">
                  <c:v>1</c:v>
                </c:pt>
                <c:pt idx="14">
                  <c:v>86</c:v>
                </c:pt>
                <c:pt idx="15">
                  <c:v>40</c:v>
                </c:pt>
                <c:pt idx="16">
                  <c:v>44</c:v>
                </c:pt>
                <c:pt idx="17">
                  <c:v>1</c:v>
                </c:pt>
                <c:pt idx="18">
                  <c:v>196</c:v>
                </c:pt>
                <c:pt idx="19">
                  <c:v>138</c:v>
                </c:pt>
                <c:pt idx="20">
                  <c:v>100</c:v>
                </c:pt>
                <c:pt idx="21">
                  <c:v>627</c:v>
                </c:pt>
                <c:pt idx="22">
                  <c:v>290</c:v>
                </c:pt>
                <c:pt idx="23">
                  <c:v>1325</c:v>
                </c:pt>
                <c:pt idx="24">
                  <c:v>3258</c:v>
                </c:pt>
                <c:pt idx="25">
                  <c:v>2610</c:v>
                </c:pt>
                <c:pt idx="26">
                  <c:v>2702</c:v>
                </c:pt>
                <c:pt idx="27">
                  <c:v>2109</c:v>
                </c:pt>
                <c:pt idx="28">
                  <c:v>3034</c:v>
                </c:pt>
                <c:pt idx="29">
                  <c:v>2017</c:v>
                </c:pt>
                <c:pt idx="30">
                  <c:v>788</c:v>
                </c:pt>
                <c:pt idx="31">
                  <c:v>772</c:v>
                </c:pt>
                <c:pt idx="32">
                  <c:v>1444</c:v>
                </c:pt>
                <c:pt idx="33">
                  <c:v>992</c:v>
                </c:pt>
                <c:pt idx="34">
                  <c:v>582</c:v>
                </c:pt>
                <c:pt idx="35">
                  <c:v>943</c:v>
                </c:pt>
                <c:pt idx="36">
                  <c:v>1069</c:v>
                </c:pt>
                <c:pt idx="37">
                  <c:v>910</c:v>
                </c:pt>
                <c:pt idx="38">
                  <c:v>885</c:v>
                </c:pt>
                <c:pt idx="39">
                  <c:v>409</c:v>
                </c:pt>
                <c:pt idx="40">
                  <c:v>650</c:v>
                </c:pt>
                <c:pt idx="41">
                  <c:v>590</c:v>
                </c:pt>
                <c:pt idx="42">
                  <c:v>204</c:v>
                </c:pt>
                <c:pt idx="43">
                  <c:v>356</c:v>
                </c:pt>
                <c:pt idx="44">
                  <c:v>143</c:v>
                </c:pt>
                <c:pt idx="45">
                  <c:v>223</c:v>
                </c:pt>
                <c:pt idx="46">
                  <c:v>295</c:v>
                </c:pt>
                <c:pt idx="47">
                  <c:v>192</c:v>
                </c:pt>
                <c:pt idx="48">
                  <c:v>115</c:v>
                </c:pt>
                <c:pt idx="49">
                  <c:v>72</c:v>
                </c:pt>
                <c:pt idx="50">
                  <c:v>32</c:v>
                </c:pt>
                <c:pt idx="51">
                  <c:v>16</c:v>
                </c:pt>
                <c:pt idx="52">
                  <c:v>15</c:v>
                </c:pt>
                <c:pt idx="53">
                  <c:v>0</c:v>
                </c:pt>
                <c:pt idx="54">
                  <c:v>14</c:v>
                </c:pt>
                <c:pt idx="55">
                  <c:v>9</c:v>
                </c:pt>
                <c:pt idx="56">
                  <c:v>0</c:v>
                </c:pt>
                <c:pt idx="57">
                  <c:v>3</c:v>
                </c:pt>
                <c:pt idx="58">
                  <c:v>4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3</c:v>
                </c:pt>
                <c:pt idx="64">
                  <c:v>5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10</c:v>
                </c:pt>
                <c:pt idx="69">
                  <c:v>0</c:v>
                </c:pt>
                <c:pt idx="70">
                  <c:v>28</c:v>
                </c:pt>
                <c:pt idx="71">
                  <c:v>0</c:v>
                </c:pt>
                <c:pt idx="72">
                  <c:v>6</c:v>
                </c:pt>
                <c:pt idx="73">
                  <c:v>14</c:v>
                </c:pt>
                <c:pt idx="74">
                  <c:v>46</c:v>
                </c:pt>
                <c:pt idx="75">
                  <c:v>30</c:v>
                </c:pt>
                <c:pt idx="76">
                  <c:v>58</c:v>
                </c:pt>
                <c:pt idx="77">
                  <c:v>28</c:v>
                </c:pt>
                <c:pt idx="78">
                  <c:v>41</c:v>
                </c:pt>
                <c:pt idx="79">
                  <c:v>329</c:v>
                </c:pt>
                <c:pt idx="80">
                  <c:v>102</c:v>
                </c:pt>
                <c:pt idx="81">
                  <c:v>112</c:v>
                </c:pt>
                <c:pt idx="82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600000" spcFirstLastPara="1" vertOverflow="ellipsis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C89-4EC5-9106-44D5B8B3D789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C89-4EC5-9106-44D5B8B3D789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9-4EC5-9106-44D5B8B3D789}"/>
                </c:ext>
              </c:extLst>
            </c:dLbl>
            <c:dLbl>
              <c:idx val="1"/>
              <c:layout>
                <c:manualLayout>
                  <c:x val="1.7357158033531071E-2"/>
                  <c:y val="4.56191267968003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C89-4EC5-9106-44D5B8B3D7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1700000000000004</c:v>
                </c:pt>
                <c:pt idx="1">
                  <c:v>8.3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89-4EC5-9106-44D5B8B3D78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umulativní počet nakaženýc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List1!$B$2:$B$452</c:f>
              <c:numCache>
                <c:formatCode>General</c:formatCode>
                <c:ptCount val="45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11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4</c:v>
                </c:pt>
                <c:pt idx="18">
                  <c:v>15</c:v>
                </c:pt>
                <c:pt idx="19">
                  <c:v>18</c:v>
                </c:pt>
                <c:pt idx="20">
                  <c:v>19</c:v>
                </c:pt>
                <c:pt idx="21">
                  <c:v>19</c:v>
                </c:pt>
                <c:pt idx="22">
                  <c:v>20</c:v>
                </c:pt>
                <c:pt idx="23">
                  <c:v>23</c:v>
                </c:pt>
                <c:pt idx="24">
                  <c:v>24</c:v>
                </c:pt>
                <c:pt idx="25">
                  <c:v>29</c:v>
                </c:pt>
                <c:pt idx="26">
                  <c:v>34</c:v>
                </c:pt>
                <c:pt idx="27">
                  <c:v>37</c:v>
                </c:pt>
                <c:pt idx="28">
                  <c:v>42</c:v>
                </c:pt>
                <c:pt idx="29">
                  <c:v>70</c:v>
                </c:pt>
                <c:pt idx="30">
                  <c:v>100</c:v>
                </c:pt>
                <c:pt idx="31">
                  <c:v>160</c:v>
                </c:pt>
                <c:pt idx="32">
                  <c:v>196</c:v>
                </c:pt>
                <c:pt idx="33">
                  <c:v>250</c:v>
                </c:pt>
                <c:pt idx="34">
                  <c:v>409</c:v>
                </c:pt>
                <c:pt idx="35">
                  <c:v>491</c:v>
                </c:pt>
                <c:pt idx="36">
                  <c:v>536</c:v>
                </c:pt>
                <c:pt idx="37">
                  <c:v>614</c:v>
                </c:pt>
                <c:pt idx="38">
                  <c:v>753</c:v>
                </c:pt>
                <c:pt idx="39">
                  <c:v>783</c:v>
                </c:pt>
                <c:pt idx="40">
                  <c:v>794</c:v>
                </c:pt>
                <c:pt idx="41">
                  <c:v>932</c:v>
                </c:pt>
                <c:pt idx="42">
                  <c:v>1154</c:v>
                </c:pt>
                <c:pt idx="43">
                  <c:v>1335</c:v>
                </c:pt>
                <c:pt idx="44">
                  <c:v>1525</c:v>
                </c:pt>
                <c:pt idx="45">
                  <c:v>1730</c:v>
                </c:pt>
                <c:pt idx="46">
                  <c:v>1885</c:v>
                </c:pt>
                <c:pt idx="47">
                  <c:v>1926</c:v>
                </c:pt>
                <c:pt idx="48">
                  <c:v>2168</c:v>
                </c:pt>
                <c:pt idx="49">
                  <c:v>2365</c:v>
                </c:pt>
                <c:pt idx="50">
                  <c:v>2691</c:v>
                </c:pt>
                <c:pt idx="51">
                  <c:v>2918</c:v>
                </c:pt>
                <c:pt idx="52">
                  <c:v>3333</c:v>
                </c:pt>
                <c:pt idx="53">
                  <c:v>3560</c:v>
                </c:pt>
                <c:pt idx="54">
                  <c:v>3755</c:v>
                </c:pt>
                <c:pt idx="55">
                  <c:v>4142</c:v>
                </c:pt>
                <c:pt idx="56">
                  <c:v>4664</c:v>
                </c:pt>
                <c:pt idx="57">
                  <c:v>4924</c:v>
                </c:pt>
                <c:pt idx="58">
                  <c:v>5460</c:v>
                </c:pt>
                <c:pt idx="59">
                  <c:v>6047</c:v>
                </c:pt>
                <c:pt idx="60">
                  <c:v>6383</c:v>
                </c:pt>
                <c:pt idx="61">
                  <c:v>6595</c:v>
                </c:pt>
                <c:pt idx="62">
                  <c:v>6926</c:v>
                </c:pt>
                <c:pt idx="63">
                  <c:v>7258</c:v>
                </c:pt>
                <c:pt idx="64">
                  <c:v>7682</c:v>
                </c:pt>
                <c:pt idx="65">
                  <c:v>8215</c:v>
                </c:pt>
                <c:pt idx="66">
                  <c:v>8702</c:v>
                </c:pt>
                <c:pt idx="67">
                  <c:v>8916</c:v>
                </c:pt>
                <c:pt idx="68">
                  <c:v>8994</c:v>
                </c:pt>
                <c:pt idx="69">
                  <c:v>9196</c:v>
                </c:pt>
                <c:pt idx="70">
                  <c:v>9581</c:v>
                </c:pt>
                <c:pt idx="71">
                  <c:v>10257</c:v>
                </c:pt>
                <c:pt idx="72">
                  <c:v>10755</c:v>
                </c:pt>
                <c:pt idx="73">
                  <c:v>11235</c:v>
                </c:pt>
                <c:pt idx="74">
                  <c:v>11414</c:v>
                </c:pt>
                <c:pt idx="75">
                  <c:v>11578</c:v>
                </c:pt>
                <c:pt idx="76">
                  <c:v>11960</c:v>
                </c:pt>
                <c:pt idx="77">
                  <c:v>12097</c:v>
                </c:pt>
                <c:pt idx="78">
                  <c:v>12366</c:v>
                </c:pt>
                <c:pt idx="79">
                  <c:v>12635</c:v>
                </c:pt>
                <c:pt idx="80">
                  <c:v>12873</c:v>
                </c:pt>
                <c:pt idx="81">
                  <c:v>12967</c:v>
                </c:pt>
                <c:pt idx="82">
                  <c:v>13058</c:v>
                </c:pt>
                <c:pt idx="83">
                  <c:v>13437</c:v>
                </c:pt>
                <c:pt idx="84">
                  <c:v>13635</c:v>
                </c:pt>
                <c:pt idx="85">
                  <c:v>13759</c:v>
                </c:pt>
                <c:pt idx="86">
                  <c:v>13953</c:v>
                </c:pt>
                <c:pt idx="87">
                  <c:v>14092</c:v>
                </c:pt>
                <c:pt idx="88">
                  <c:v>14170</c:v>
                </c:pt>
                <c:pt idx="89">
                  <c:v>14198</c:v>
                </c:pt>
                <c:pt idx="90">
                  <c:v>14413</c:v>
                </c:pt>
                <c:pt idx="91">
                  <c:v>14536</c:v>
                </c:pt>
                <c:pt idx="92">
                  <c:v>14668</c:v>
                </c:pt>
                <c:pt idx="93">
                  <c:v>14800</c:v>
                </c:pt>
                <c:pt idx="94">
                  <c:v>14941</c:v>
                </c:pt>
                <c:pt idx="95">
                  <c:v>15030</c:v>
                </c:pt>
                <c:pt idx="96">
                  <c:v>15050</c:v>
                </c:pt>
                <c:pt idx="97">
                  <c:v>15192</c:v>
                </c:pt>
                <c:pt idx="98">
                  <c:v>15281</c:v>
                </c:pt>
                <c:pt idx="99">
                  <c:v>15422</c:v>
                </c:pt>
                <c:pt idx="100">
                  <c:v>15506</c:v>
                </c:pt>
                <c:pt idx="101">
                  <c:v>15736</c:v>
                </c:pt>
                <c:pt idx="102">
                  <c:v>15803</c:v>
                </c:pt>
                <c:pt idx="103">
                  <c:v>15853</c:v>
                </c:pt>
                <c:pt idx="104">
                  <c:v>16001</c:v>
                </c:pt>
                <c:pt idx="105">
                  <c:v>16134</c:v>
                </c:pt>
                <c:pt idx="106">
                  <c:v>16234</c:v>
                </c:pt>
                <c:pt idx="107">
                  <c:v>16302</c:v>
                </c:pt>
                <c:pt idx="108">
                  <c:v>16517</c:v>
                </c:pt>
                <c:pt idx="109">
                  <c:v>16578</c:v>
                </c:pt>
                <c:pt idx="110">
                  <c:v>16599</c:v>
                </c:pt>
                <c:pt idx="111">
                  <c:v>16777</c:v>
                </c:pt>
                <c:pt idx="112">
                  <c:v>16952</c:v>
                </c:pt>
                <c:pt idx="113">
                  <c:v>17074</c:v>
                </c:pt>
                <c:pt idx="114">
                  <c:v>17092</c:v>
                </c:pt>
                <c:pt idx="115">
                  <c:v>17163</c:v>
                </c:pt>
                <c:pt idx="116">
                  <c:v>17241</c:v>
                </c:pt>
                <c:pt idx="117">
                  <c:v>17338</c:v>
                </c:pt>
                <c:pt idx="118">
                  <c:v>17503</c:v>
                </c:pt>
                <c:pt idx="119">
                  <c:v>17688</c:v>
                </c:pt>
                <c:pt idx="120">
                  <c:v>17832</c:v>
                </c:pt>
                <c:pt idx="121">
                  <c:v>17965</c:v>
                </c:pt>
                <c:pt idx="122">
                  <c:v>18030</c:v>
                </c:pt>
                <c:pt idx="123">
                  <c:v>18089</c:v>
                </c:pt>
                <c:pt idx="124">
                  <c:v>18130</c:v>
                </c:pt>
                <c:pt idx="125">
                  <c:v>18398</c:v>
                </c:pt>
                <c:pt idx="126">
                  <c:v>18550</c:v>
                </c:pt>
                <c:pt idx="127">
                  <c:v>18714</c:v>
                </c:pt>
                <c:pt idx="128">
                  <c:v>18947</c:v>
                </c:pt>
                <c:pt idx="129">
                  <c:v>19132</c:v>
                </c:pt>
                <c:pt idx="130">
                  <c:v>19193</c:v>
                </c:pt>
                <c:pt idx="131">
                  <c:v>19223</c:v>
                </c:pt>
                <c:pt idx="132">
                  <c:v>19461</c:v>
                </c:pt>
                <c:pt idx="133">
                  <c:v>19587</c:v>
                </c:pt>
                <c:pt idx="134">
                  <c:v>19761</c:v>
                </c:pt>
                <c:pt idx="135">
                  <c:v>19858</c:v>
                </c:pt>
                <c:pt idx="136">
                  <c:v>19943</c:v>
                </c:pt>
                <c:pt idx="137">
                  <c:v>19978</c:v>
                </c:pt>
                <c:pt idx="138">
                  <c:v>20023</c:v>
                </c:pt>
                <c:pt idx="139">
                  <c:v>20184</c:v>
                </c:pt>
                <c:pt idx="140">
                  <c:v>20262</c:v>
                </c:pt>
                <c:pt idx="141">
                  <c:v>20408</c:v>
                </c:pt>
                <c:pt idx="142">
                  <c:v>20514</c:v>
                </c:pt>
                <c:pt idx="143">
                  <c:v>20628</c:v>
                </c:pt>
                <c:pt idx="144">
                  <c:v>20681</c:v>
                </c:pt>
                <c:pt idx="145">
                  <c:v>20705</c:v>
                </c:pt>
                <c:pt idx="146">
                  <c:v>20790</c:v>
                </c:pt>
                <c:pt idx="147">
                  <c:v>20831</c:v>
                </c:pt>
                <c:pt idx="148">
                  <c:v>20926</c:v>
                </c:pt>
                <c:pt idx="149">
                  <c:v>20992</c:v>
                </c:pt>
                <c:pt idx="150">
                  <c:v>21029</c:v>
                </c:pt>
                <c:pt idx="151">
                  <c:v>21078</c:v>
                </c:pt>
                <c:pt idx="152">
                  <c:v>21087</c:v>
                </c:pt>
                <c:pt idx="153">
                  <c:v>21192</c:v>
                </c:pt>
                <c:pt idx="154">
                  <c:v>21286</c:v>
                </c:pt>
                <c:pt idx="155">
                  <c:v>21388</c:v>
                </c:pt>
                <c:pt idx="156">
                  <c:v>21470</c:v>
                </c:pt>
                <c:pt idx="157">
                  <c:v>21554</c:v>
                </c:pt>
                <c:pt idx="158">
                  <c:v>21596</c:v>
                </c:pt>
                <c:pt idx="159">
                  <c:v>21612</c:v>
                </c:pt>
                <c:pt idx="160">
                  <c:v>21676</c:v>
                </c:pt>
                <c:pt idx="161">
                  <c:v>21742</c:v>
                </c:pt>
                <c:pt idx="162">
                  <c:v>21809</c:v>
                </c:pt>
                <c:pt idx="163">
                  <c:v>21874</c:v>
                </c:pt>
                <c:pt idx="164">
                  <c:v>21926</c:v>
                </c:pt>
                <c:pt idx="165">
                  <c:v>21934</c:v>
                </c:pt>
                <c:pt idx="166">
                  <c:v>21947</c:v>
                </c:pt>
                <c:pt idx="167">
                  <c:v>21984</c:v>
                </c:pt>
                <c:pt idx="168">
                  <c:v>22002</c:v>
                </c:pt>
                <c:pt idx="169">
                  <c:v>22032</c:v>
                </c:pt>
                <c:pt idx="170">
                  <c:v>22060</c:v>
                </c:pt>
                <c:pt idx="171">
                  <c:v>22086</c:v>
                </c:pt>
                <c:pt idx="172">
                  <c:v>22104</c:v>
                </c:pt>
                <c:pt idx="173">
                  <c:v>22109</c:v>
                </c:pt>
                <c:pt idx="174">
                  <c:v>22199</c:v>
                </c:pt>
                <c:pt idx="175">
                  <c:v>22234</c:v>
                </c:pt>
                <c:pt idx="176">
                  <c:v>22268</c:v>
                </c:pt>
                <c:pt idx="177">
                  <c:v>22314</c:v>
                </c:pt>
                <c:pt idx="178">
                  <c:v>22360</c:v>
                </c:pt>
                <c:pt idx="179">
                  <c:v>22369</c:v>
                </c:pt>
                <c:pt idx="180">
                  <c:v>22372</c:v>
                </c:pt>
                <c:pt idx="181">
                  <c:v>22450</c:v>
                </c:pt>
                <c:pt idx="182">
                  <c:v>22478</c:v>
                </c:pt>
                <c:pt idx="183">
                  <c:v>22524</c:v>
                </c:pt>
                <c:pt idx="184">
                  <c:v>22533</c:v>
                </c:pt>
                <c:pt idx="185">
                  <c:v>22555</c:v>
                </c:pt>
                <c:pt idx="186">
                  <c:v>22560</c:v>
                </c:pt>
                <c:pt idx="187">
                  <c:v>22565</c:v>
                </c:pt>
                <c:pt idx="188">
                  <c:v>22592</c:v>
                </c:pt>
                <c:pt idx="189">
                  <c:v>22664</c:v>
                </c:pt>
                <c:pt idx="190">
                  <c:v>22719</c:v>
                </c:pt>
                <c:pt idx="191">
                  <c:v>22731</c:v>
                </c:pt>
                <c:pt idx="192">
                  <c:v>22756</c:v>
                </c:pt>
                <c:pt idx="193">
                  <c:v>22765</c:v>
                </c:pt>
                <c:pt idx="194">
                  <c:v>22771</c:v>
                </c:pt>
                <c:pt idx="195">
                  <c:v>22797</c:v>
                </c:pt>
                <c:pt idx="196">
                  <c:v>22817</c:v>
                </c:pt>
                <c:pt idx="197">
                  <c:v>22824</c:v>
                </c:pt>
                <c:pt idx="198">
                  <c:v>22861</c:v>
                </c:pt>
                <c:pt idx="199">
                  <c:v>22879</c:v>
                </c:pt>
                <c:pt idx="200">
                  <c:v>22888</c:v>
                </c:pt>
                <c:pt idx="201">
                  <c:v>22892</c:v>
                </c:pt>
                <c:pt idx="202">
                  <c:v>22906</c:v>
                </c:pt>
                <c:pt idx="203">
                  <c:v>22935</c:v>
                </c:pt>
                <c:pt idx="204">
                  <c:v>22954</c:v>
                </c:pt>
                <c:pt idx="205">
                  <c:v>22985</c:v>
                </c:pt>
                <c:pt idx="206">
                  <c:v>22991</c:v>
                </c:pt>
                <c:pt idx="207">
                  <c:v>22994</c:v>
                </c:pt>
                <c:pt idx="208">
                  <c:v>22998</c:v>
                </c:pt>
                <c:pt idx="209">
                  <c:v>23019</c:v>
                </c:pt>
                <c:pt idx="210">
                  <c:v>23029</c:v>
                </c:pt>
                <c:pt idx="211">
                  <c:v>23038</c:v>
                </c:pt>
                <c:pt idx="212">
                  <c:v>23047</c:v>
                </c:pt>
                <c:pt idx="213">
                  <c:v>23050</c:v>
                </c:pt>
                <c:pt idx="214">
                  <c:v>23053</c:v>
                </c:pt>
                <c:pt idx="215">
                  <c:v>23055</c:v>
                </c:pt>
                <c:pt idx="216">
                  <c:v>23056</c:v>
                </c:pt>
                <c:pt idx="217">
                  <c:v>23061</c:v>
                </c:pt>
                <c:pt idx="218">
                  <c:v>23079</c:v>
                </c:pt>
                <c:pt idx="219">
                  <c:v>23080</c:v>
                </c:pt>
                <c:pt idx="220">
                  <c:v>23083</c:v>
                </c:pt>
                <c:pt idx="221">
                  <c:v>23084</c:v>
                </c:pt>
                <c:pt idx="222">
                  <c:v>23084</c:v>
                </c:pt>
                <c:pt idx="223">
                  <c:v>23084</c:v>
                </c:pt>
                <c:pt idx="224">
                  <c:v>23086</c:v>
                </c:pt>
                <c:pt idx="225">
                  <c:v>23087</c:v>
                </c:pt>
                <c:pt idx="226">
                  <c:v>23090</c:v>
                </c:pt>
                <c:pt idx="227">
                  <c:v>23091</c:v>
                </c:pt>
                <c:pt idx="228">
                  <c:v>23092</c:v>
                </c:pt>
                <c:pt idx="229">
                  <c:v>23093</c:v>
                </c:pt>
                <c:pt idx="230">
                  <c:v>23098</c:v>
                </c:pt>
                <c:pt idx="231">
                  <c:v>23102</c:v>
                </c:pt>
                <c:pt idx="232">
                  <c:v>23105</c:v>
                </c:pt>
                <c:pt idx="233">
                  <c:v>23114</c:v>
                </c:pt>
                <c:pt idx="234">
                  <c:v>23118</c:v>
                </c:pt>
                <c:pt idx="235">
                  <c:v>23119</c:v>
                </c:pt>
                <c:pt idx="236">
                  <c:v>23119</c:v>
                </c:pt>
                <c:pt idx="237">
                  <c:v>23120</c:v>
                </c:pt>
                <c:pt idx="238">
                  <c:v>23123</c:v>
                </c:pt>
                <c:pt idx="239">
                  <c:v>23124</c:v>
                </c:pt>
                <c:pt idx="240">
                  <c:v>23126</c:v>
                </c:pt>
                <c:pt idx="241">
                  <c:v>23127</c:v>
                </c:pt>
                <c:pt idx="242">
                  <c:v>23127</c:v>
                </c:pt>
                <c:pt idx="243">
                  <c:v>23127</c:v>
                </c:pt>
                <c:pt idx="244">
                  <c:v>23127</c:v>
                </c:pt>
                <c:pt idx="245">
                  <c:v>23127</c:v>
                </c:pt>
                <c:pt idx="246">
                  <c:v>23129</c:v>
                </c:pt>
                <c:pt idx="247">
                  <c:v>23129</c:v>
                </c:pt>
                <c:pt idx="248">
                  <c:v>23130</c:v>
                </c:pt>
                <c:pt idx="249">
                  <c:v>23130</c:v>
                </c:pt>
                <c:pt idx="250">
                  <c:v>23133</c:v>
                </c:pt>
                <c:pt idx="251">
                  <c:v>23138</c:v>
                </c:pt>
                <c:pt idx="252">
                  <c:v>23140</c:v>
                </c:pt>
                <c:pt idx="253">
                  <c:v>23140</c:v>
                </c:pt>
                <c:pt idx="254">
                  <c:v>23142</c:v>
                </c:pt>
                <c:pt idx="255">
                  <c:v>23145</c:v>
                </c:pt>
                <c:pt idx="256">
                  <c:v>23146</c:v>
                </c:pt>
                <c:pt idx="257">
                  <c:v>23146</c:v>
                </c:pt>
                <c:pt idx="258">
                  <c:v>23149</c:v>
                </c:pt>
                <c:pt idx="259">
                  <c:v>23149</c:v>
                </c:pt>
                <c:pt idx="260">
                  <c:v>23151</c:v>
                </c:pt>
                <c:pt idx="261">
                  <c:v>23151</c:v>
                </c:pt>
                <c:pt idx="262">
                  <c:v>23151</c:v>
                </c:pt>
                <c:pt idx="263">
                  <c:v>23151</c:v>
                </c:pt>
                <c:pt idx="264">
                  <c:v>23151</c:v>
                </c:pt>
                <c:pt idx="265">
                  <c:v>23153</c:v>
                </c:pt>
                <c:pt idx="266">
                  <c:v>23153</c:v>
                </c:pt>
                <c:pt idx="267">
                  <c:v>23153</c:v>
                </c:pt>
                <c:pt idx="268">
                  <c:v>23153</c:v>
                </c:pt>
                <c:pt idx="269">
                  <c:v>23153</c:v>
                </c:pt>
                <c:pt idx="270">
                  <c:v>23153</c:v>
                </c:pt>
                <c:pt idx="271">
                  <c:v>23153</c:v>
                </c:pt>
                <c:pt idx="272">
                  <c:v>23153</c:v>
                </c:pt>
                <c:pt idx="273">
                  <c:v>23153</c:v>
                </c:pt>
                <c:pt idx="274">
                  <c:v>23156</c:v>
                </c:pt>
                <c:pt idx="275">
                  <c:v>23157</c:v>
                </c:pt>
                <c:pt idx="276">
                  <c:v>23157</c:v>
                </c:pt>
                <c:pt idx="277">
                  <c:v>23157</c:v>
                </c:pt>
                <c:pt idx="278">
                  <c:v>23157</c:v>
                </c:pt>
                <c:pt idx="279">
                  <c:v>23157</c:v>
                </c:pt>
                <c:pt idx="280">
                  <c:v>23157</c:v>
                </c:pt>
                <c:pt idx="281">
                  <c:v>23157</c:v>
                </c:pt>
                <c:pt idx="282">
                  <c:v>23157</c:v>
                </c:pt>
                <c:pt idx="283">
                  <c:v>23158</c:v>
                </c:pt>
                <c:pt idx="284">
                  <c:v>23158</c:v>
                </c:pt>
                <c:pt idx="285">
                  <c:v>23158</c:v>
                </c:pt>
                <c:pt idx="286">
                  <c:v>23158</c:v>
                </c:pt>
                <c:pt idx="287">
                  <c:v>23158</c:v>
                </c:pt>
                <c:pt idx="288">
                  <c:v>23158</c:v>
                </c:pt>
                <c:pt idx="289">
                  <c:v>23159</c:v>
                </c:pt>
                <c:pt idx="290">
                  <c:v>23159</c:v>
                </c:pt>
                <c:pt idx="291">
                  <c:v>23159</c:v>
                </c:pt>
                <c:pt idx="292">
                  <c:v>23159</c:v>
                </c:pt>
                <c:pt idx="293">
                  <c:v>23159</c:v>
                </c:pt>
                <c:pt idx="294">
                  <c:v>23159</c:v>
                </c:pt>
                <c:pt idx="295">
                  <c:v>23160</c:v>
                </c:pt>
                <c:pt idx="296">
                  <c:v>23161</c:v>
                </c:pt>
                <c:pt idx="297">
                  <c:v>23161</c:v>
                </c:pt>
                <c:pt idx="298">
                  <c:v>23161</c:v>
                </c:pt>
                <c:pt idx="299">
                  <c:v>23161</c:v>
                </c:pt>
                <c:pt idx="300">
                  <c:v>23161</c:v>
                </c:pt>
                <c:pt idx="301">
                  <c:v>23161</c:v>
                </c:pt>
                <c:pt idx="302">
                  <c:v>23161</c:v>
                </c:pt>
                <c:pt idx="303">
                  <c:v>23162</c:v>
                </c:pt>
                <c:pt idx="304">
                  <c:v>23162</c:v>
                </c:pt>
                <c:pt idx="305">
                  <c:v>23162</c:v>
                </c:pt>
                <c:pt idx="306">
                  <c:v>23163</c:v>
                </c:pt>
                <c:pt idx="307">
                  <c:v>23163</c:v>
                </c:pt>
                <c:pt idx="308">
                  <c:v>23163</c:v>
                </c:pt>
                <c:pt idx="309">
                  <c:v>23163</c:v>
                </c:pt>
                <c:pt idx="310">
                  <c:v>23164</c:v>
                </c:pt>
                <c:pt idx="311">
                  <c:v>23164</c:v>
                </c:pt>
                <c:pt idx="312">
                  <c:v>23164</c:v>
                </c:pt>
                <c:pt idx="313">
                  <c:v>23164</c:v>
                </c:pt>
                <c:pt idx="314">
                  <c:v>23164</c:v>
                </c:pt>
                <c:pt idx="315">
                  <c:v>23164</c:v>
                </c:pt>
                <c:pt idx="316">
                  <c:v>23164</c:v>
                </c:pt>
                <c:pt idx="317">
                  <c:v>23164</c:v>
                </c:pt>
                <c:pt idx="318">
                  <c:v>23164</c:v>
                </c:pt>
                <c:pt idx="319">
                  <c:v>23164</c:v>
                </c:pt>
                <c:pt idx="320">
                  <c:v>23164</c:v>
                </c:pt>
                <c:pt idx="321">
                  <c:v>23164</c:v>
                </c:pt>
                <c:pt idx="322">
                  <c:v>23164</c:v>
                </c:pt>
                <c:pt idx="323">
                  <c:v>23164</c:v>
                </c:pt>
                <c:pt idx="324">
                  <c:v>23164</c:v>
                </c:pt>
                <c:pt idx="325">
                  <c:v>23164</c:v>
                </c:pt>
                <c:pt idx="326">
                  <c:v>23165</c:v>
                </c:pt>
                <c:pt idx="327">
                  <c:v>23165</c:v>
                </c:pt>
                <c:pt idx="328">
                  <c:v>23165</c:v>
                </c:pt>
                <c:pt idx="329">
                  <c:v>23165</c:v>
                </c:pt>
                <c:pt idx="330">
                  <c:v>23165</c:v>
                </c:pt>
                <c:pt idx="331">
                  <c:v>23165</c:v>
                </c:pt>
                <c:pt idx="332">
                  <c:v>23165</c:v>
                </c:pt>
                <c:pt idx="333">
                  <c:v>23165</c:v>
                </c:pt>
                <c:pt idx="334">
                  <c:v>23165</c:v>
                </c:pt>
                <c:pt idx="335">
                  <c:v>23165</c:v>
                </c:pt>
                <c:pt idx="336">
                  <c:v>23165</c:v>
                </c:pt>
                <c:pt idx="337">
                  <c:v>23165</c:v>
                </c:pt>
                <c:pt idx="338">
                  <c:v>23165</c:v>
                </c:pt>
                <c:pt idx="339">
                  <c:v>23165</c:v>
                </c:pt>
                <c:pt idx="340">
                  <c:v>23165</c:v>
                </c:pt>
                <c:pt idx="341">
                  <c:v>23165</c:v>
                </c:pt>
                <c:pt idx="342">
                  <c:v>23165</c:v>
                </c:pt>
                <c:pt idx="343">
                  <c:v>23165</c:v>
                </c:pt>
                <c:pt idx="344">
                  <c:v>23165</c:v>
                </c:pt>
                <c:pt idx="345">
                  <c:v>23165</c:v>
                </c:pt>
                <c:pt idx="346">
                  <c:v>23165</c:v>
                </c:pt>
                <c:pt idx="347">
                  <c:v>23165</c:v>
                </c:pt>
                <c:pt idx="348">
                  <c:v>23165</c:v>
                </c:pt>
                <c:pt idx="349">
                  <c:v>23166</c:v>
                </c:pt>
                <c:pt idx="350">
                  <c:v>23167</c:v>
                </c:pt>
                <c:pt idx="351">
                  <c:v>23167</c:v>
                </c:pt>
                <c:pt idx="352">
                  <c:v>23168</c:v>
                </c:pt>
                <c:pt idx="353">
                  <c:v>23168</c:v>
                </c:pt>
                <c:pt idx="354">
                  <c:v>23168</c:v>
                </c:pt>
                <c:pt idx="355">
                  <c:v>23168</c:v>
                </c:pt>
                <c:pt idx="356">
                  <c:v>23170</c:v>
                </c:pt>
                <c:pt idx="357">
                  <c:v>23170</c:v>
                </c:pt>
                <c:pt idx="358">
                  <c:v>23170</c:v>
                </c:pt>
                <c:pt idx="359">
                  <c:v>23170</c:v>
                </c:pt>
                <c:pt idx="360">
                  <c:v>23170</c:v>
                </c:pt>
                <c:pt idx="361">
                  <c:v>23170</c:v>
                </c:pt>
                <c:pt idx="362">
                  <c:v>23170</c:v>
                </c:pt>
                <c:pt idx="363">
                  <c:v>23170</c:v>
                </c:pt>
                <c:pt idx="364">
                  <c:v>23170</c:v>
                </c:pt>
                <c:pt idx="365">
                  <c:v>23171</c:v>
                </c:pt>
                <c:pt idx="366">
                  <c:v>23175</c:v>
                </c:pt>
                <c:pt idx="367">
                  <c:v>23177</c:v>
                </c:pt>
                <c:pt idx="368">
                  <c:v>23178</c:v>
                </c:pt>
                <c:pt idx="369">
                  <c:v>23178</c:v>
                </c:pt>
                <c:pt idx="370">
                  <c:v>23182</c:v>
                </c:pt>
                <c:pt idx="371">
                  <c:v>23182</c:v>
                </c:pt>
                <c:pt idx="372">
                  <c:v>23182</c:v>
                </c:pt>
                <c:pt idx="373">
                  <c:v>23183</c:v>
                </c:pt>
                <c:pt idx="374">
                  <c:v>23183</c:v>
                </c:pt>
                <c:pt idx="375">
                  <c:v>23183</c:v>
                </c:pt>
                <c:pt idx="376">
                  <c:v>23183</c:v>
                </c:pt>
                <c:pt idx="377">
                  <c:v>23184</c:v>
                </c:pt>
                <c:pt idx="378">
                  <c:v>23184</c:v>
                </c:pt>
                <c:pt idx="379">
                  <c:v>23184</c:v>
                </c:pt>
                <c:pt idx="380">
                  <c:v>23184</c:v>
                </c:pt>
                <c:pt idx="381">
                  <c:v>23184</c:v>
                </c:pt>
                <c:pt idx="382">
                  <c:v>23184</c:v>
                </c:pt>
                <c:pt idx="383">
                  <c:v>23184</c:v>
                </c:pt>
                <c:pt idx="384">
                  <c:v>23185</c:v>
                </c:pt>
                <c:pt idx="385">
                  <c:v>23188</c:v>
                </c:pt>
                <c:pt idx="386">
                  <c:v>23189</c:v>
                </c:pt>
                <c:pt idx="387">
                  <c:v>23189</c:v>
                </c:pt>
                <c:pt idx="388">
                  <c:v>23189</c:v>
                </c:pt>
                <c:pt idx="389">
                  <c:v>23189</c:v>
                </c:pt>
                <c:pt idx="390">
                  <c:v>23189</c:v>
                </c:pt>
                <c:pt idx="391">
                  <c:v>23191</c:v>
                </c:pt>
                <c:pt idx="392">
                  <c:v>23191</c:v>
                </c:pt>
                <c:pt idx="393">
                  <c:v>23192</c:v>
                </c:pt>
                <c:pt idx="394">
                  <c:v>23192</c:v>
                </c:pt>
                <c:pt idx="395">
                  <c:v>23193</c:v>
                </c:pt>
                <c:pt idx="396">
                  <c:v>23194</c:v>
                </c:pt>
                <c:pt idx="397">
                  <c:v>23195</c:v>
                </c:pt>
                <c:pt idx="398">
                  <c:v>23197</c:v>
                </c:pt>
                <c:pt idx="399">
                  <c:v>23199</c:v>
                </c:pt>
                <c:pt idx="400">
                  <c:v>23210</c:v>
                </c:pt>
                <c:pt idx="401">
                  <c:v>23212</c:v>
                </c:pt>
                <c:pt idx="402">
                  <c:v>23237</c:v>
                </c:pt>
                <c:pt idx="403">
                  <c:v>23238</c:v>
                </c:pt>
                <c:pt idx="404">
                  <c:v>23238</c:v>
                </c:pt>
                <c:pt idx="405">
                  <c:v>23239</c:v>
                </c:pt>
                <c:pt idx="406">
                  <c:v>23239</c:v>
                </c:pt>
                <c:pt idx="407">
                  <c:v>23259</c:v>
                </c:pt>
                <c:pt idx="408">
                  <c:v>23262</c:v>
                </c:pt>
                <c:pt idx="409">
                  <c:v>23264</c:v>
                </c:pt>
                <c:pt idx="410">
                  <c:v>23264</c:v>
                </c:pt>
                <c:pt idx="411">
                  <c:v>23264</c:v>
                </c:pt>
                <c:pt idx="412">
                  <c:v>23270</c:v>
                </c:pt>
                <c:pt idx="413">
                  <c:v>23274</c:v>
                </c:pt>
                <c:pt idx="414">
                  <c:v>23278</c:v>
                </c:pt>
                <c:pt idx="415">
                  <c:v>23280</c:v>
                </c:pt>
                <c:pt idx="416">
                  <c:v>23285</c:v>
                </c:pt>
                <c:pt idx="417">
                  <c:v>23286</c:v>
                </c:pt>
                <c:pt idx="418">
                  <c:v>23287</c:v>
                </c:pt>
                <c:pt idx="419">
                  <c:v>23301</c:v>
                </c:pt>
                <c:pt idx="420">
                  <c:v>23310</c:v>
                </c:pt>
                <c:pt idx="421">
                  <c:v>23320</c:v>
                </c:pt>
                <c:pt idx="422">
                  <c:v>23320</c:v>
                </c:pt>
                <c:pt idx="423">
                  <c:v>23338</c:v>
                </c:pt>
                <c:pt idx="424">
                  <c:v>23345</c:v>
                </c:pt>
                <c:pt idx="425">
                  <c:v>23356</c:v>
                </c:pt>
                <c:pt idx="426">
                  <c:v>23391</c:v>
                </c:pt>
                <c:pt idx="427">
                  <c:v>23404</c:v>
                </c:pt>
                <c:pt idx="428">
                  <c:v>23420</c:v>
                </c:pt>
                <c:pt idx="429">
                  <c:v>23464</c:v>
                </c:pt>
                <c:pt idx="430">
                  <c:v>23487</c:v>
                </c:pt>
                <c:pt idx="431">
                  <c:v>23493</c:v>
                </c:pt>
                <c:pt idx="432">
                  <c:v>23497</c:v>
                </c:pt>
                <c:pt idx="433">
                  <c:v>23525</c:v>
                </c:pt>
                <c:pt idx="434">
                  <c:v>23547</c:v>
                </c:pt>
                <c:pt idx="435">
                  <c:v>23566</c:v>
                </c:pt>
                <c:pt idx="436">
                  <c:v>23587</c:v>
                </c:pt>
                <c:pt idx="437">
                  <c:v>23604</c:v>
                </c:pt>
                <c:pt idx="438">
                  <c:v>23618</c:v>
                </c:pt>
                <c:pt idx="439">
                  <c:v>23623</c:v>
                </c:pt>
                <c:pt idx="440">
                  <c:v>23660</c:v>
                </c:pt>
                <c:pt idx="441">
                  <c:v>23685</c:v>
                </c:pt>
                <c:pt idx="442">
                  <c:v>23719</c:v>
                </c:pt>
                <c:pt idx="443">
                  <c:v>23777</c:v>
                </c:pt>
                <c:pt idx="444">
                  <c:v>23886</c:v>
                </c:pt>
                <c:pt idx="445">
                  <c:v>23907</c:v>
                </c:pt>
                <c:pt idx="446">
                  <c:v>23920</c:v>
                </c:pt>
                <c:pt idx="447">
                  <c:v>23959</c:v>
                </c:pt>
                <c:pt idx="448">
                  <c:v>23979</c:v>
                </c:pt>
                <c:pt idx="449">
                  <c:v>24004</c:v>
                </c:pt>
                <c:pt idx="450">
                  <c:v>24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C3-4558-95C0-65D81E5CAFC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List1!$C$2:$C$452</c:f>
              <c:numCache>
                <c:formatCode>General</c:formatCode>
                <c:ptCount val="45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6</c:v>
                </c:pt>
                <c:pt idx="9">
                  <c:v>7</c:v>
                </c:pt>
                <c:pt idx="10">
                  <c:v>8</c:v>
                </c:pt>
                <c:pt idx="11">
                  <c:v>9</c:v>
                </c:pt>
                <c:pt idx="12">
                  <c:v>9</c:v>
                </c:pt>
                <c:pt idx="13">
                  <c:v>12</c:v>
                </c:pt>
                <c:pt idx="14">
                  <c:v>13</c:v>
                </c:pt>
                <c:pt idx="15">
                  <c:v>15</c:v>
                </c:pt>
                <c:pt idx="16">
                  <c:v>17</c:v>
                </c:pt>
                <c:pt idx="17">
                  <c:v>19</c:v>
                </c:pt>
                <c:pt idx="18">
                  <c:v>20</c:v>
                </c:pt>
                <c:pt idx="19">
                  <c:v>24</c:v>
                </c:pt>
                <c:pt idx="20">
                  <c:v>29</c:v>
                </c:pt>
                <c:pt idx="21">
                  <c:v>33</c:v>
                </c:pt>
                <c:pt idx="22">
                  <c:v>34</c:v>
                </c:pt>
                <c:pt idx="23">
                  <c:v>38</c:v>
                </c:pt>
                <c:pt idx="24">
                  <c:v>50</c:v>
                </c:pt>
                <c:pt idx="25">
                  <c:v>57</c:v>
                </c:pt>
                <c:pt idx="26">
                  <c:v>59</c:v>
                </c:pt>
                <c:pt idx="27">
                  <c:v>63</c:v>
                </c:pt>
                <c:pt idx="28">
                  <c:v>86</c:v>
                </c:pt>
                <c:pt idx="29">
                  <c:v>96</c:v>
                </c:pt>
                <c:pt idx="30">
                  <c:v>126</c:v>
                </c:pt>
                <c:pt idx="31">
                  <c:v>218</c:v>
                </c:pt>
                <c:pt idx="32">
                  <c:v>249</c:v>
                </c:pt>
                <c:pt idx="33">
                  <c:v>278</c:v>
                </c:pt>
                <c:pt idx="34">
                  <c:v>357</c:v>
                </c:pt>
                <c:pt idx="35">
                  <c:v>403</c:v>
                </c:pt>
                <c:pt idx="36">
                  <c:v>445</c:v>
                </c:pt>
                <c:pt idx="37">
                  <c:v>529</c:v>
                </c:pt>
                <c:pt idx="38">
                  <c:v>616</c:v>
                </c:pt>
                <c:pt idx="39">
                  <c:v>667</c:v>
                </c:pt>
                <c:pt idx="40">
                  <c:v>692</c:v>
                </c:pt>
                <c:pt idx="41">
                  <c:v>846</c:v>
                </c:pt>
                <c:pt idx="42">
                  <c:v>1000</c:v>
                </c:pt>
                <c:pt idx="43">
                  <c:v>1190</c:v>
                </c:pt>
                <c:pt idx="44">
                  <c:v>1386</c:v>
                </c:pt>
                <c:pt idx="45">
                  <c:v>1597</c:v>
                </c:pt>
                <c:pt idx="46">
                  <c:v>1700</c:v>
                </c:pt>
                <c:pt idx="47">
                  <c:v>1748</c:v>
                </c:pt>
                <c:pt idx="48">
                  <c:v>1936</c:v>
                </c:pt>
                <c:pt idx="49">
                  <c:v>2128</c:v>
                </c:pt>
                <c:pt idx="50">
                  <c:v>2385</c:v>
                </c:pt>
                <c:pt idx="51">
                  <c:v>2620</c:v>
                </c:pt>
                <c:pt idx="52">
                  <c:v>2954</c:v>
                </c:pt>
                <c:pt idx="53">
                  <c:v>3141</c:v>
                </c:pt>
                <c:pt idx="54">
                  <c:v>3231</c:v>
                </c:pt>
                <c:pt idx="55">
                  <c:v>3603</c:v>
                </c:pt>
                <c:pt idx="56">
                  <c:v>3999</c:v>
                </c:pt>
                <c:pt idx="57">
                  <c:v>4132</c:v>
                </c:pt>
                <c:pt idx="58">
                  <c:v>4600</c:v>
                </c:pt>
                <c:pt idx="59">
                  <c:v>4931</c:v>
                </c:pt>
                <c:pt idx="60">
                  <c:v>5113</c:v>
                </c:pt>
                <c:pt idx="61">
                  <c:v>5229</c:v>
                </c:pt>
                <c:pt idx="62">
                  <c:v>5525</c:v>
                </c:pt>
                <c:pt idx="63">
                  <c:v>5754</c:v>
                </c:pt>
                <c:pt idx="64">
                  <c:v>6081</c:v>
                </c:pt>
                <c:pt idx="65">
                  <c:v>6359</c:v>
                </c:pt>
                <c:pt idx="66">
                  <c:v>6598</c:v>
                </c:pt>
                <c:pt idx="67">
                  <c:v>6714</c:v>
                </c:pt>
                <c:pt idx="68">
                  <c:v>6761</c:v>
                </c:pt>
                <c:pt idx="69">
                  <c:v>6957</c:v>
                </c:pt>
                <c:pt idx="70">
                  <c:v>7159</c:v>
                </c:pt>
                <c:pt idx="71">
                  <c:v>7420</c:v>
                </c:pt>
                <c:pt idx="72">
                  <c:v>7649</c:v>
                </c:pt>
                <c:pt idx="73">
                  <c:v>7853</c:v>
                </c:pt>
                <c:pt idx="74">
                  <c:v>7925</c:v>
                </c:pt>
                <c:pt idx="75">
                  <c:v>7955</c:v>
                </c:pt>
                <c:pt idx="76">
                  <c:v>8130</c:v>
                </c:pt>
                <c:pt idx="77">
                  <c:v>8176</c:v>
                </c:pt>
                <c:pt idx="78">
                  <c:v>8337</c:v>
                </c:pt>
                <c:pt idx="79">
                  <c:v>8462</c:v>
                </c:pt>
                <c:pt idx="80">
                  <c:v>8582</c:v>
                </c:pt>
                <c:pt idx="81">
                  <c:v>8616</c:v>
                </c:pt>
                <c:pt idx="82">
                  <c:v>8633</c:v>
                </c:pt>
                <c:pt idx="83">
                  <c:v>8773</c:v>
                </c:pt>
                <c:pt idx="84">
                  <c:v>8878</c:v>
                </c:pt>
                <c:pt idx="85">
                  <c:v>8970</c:v>
                </c:pt>
                <c:pt idx="86">
                  <c:v>9025</c:v>
                </c:pt>
                <c:pt idx="87">
                  <c:v>9107</c:v>
                </c:pt>
                <c:pt idx="88">
                  <c:v>9130</c:v>
                </c:pt>
                <c:pt idx="89">
                  <c:v>9145</c:v>
                </c:pt>
                <c:pt idx="90">
                  <c:v>9253</c:v>
                </c:pt>
                <c:pt idx="91">
                  <c:v>9338</c:v>
                </c:pt>
                <c:pt idx="92">
                  <c:v>9404</c:v>
                </c:pt>
                <c:pt idx="93">
                  <c:v>9459</c:v>
                </c:pt>
                <c:pt idx="94">
                  <c:v>9548</c:v>
                </c:pt>
                <c:pt idx="95">
                  <c:v>9587</c:v>
                </c:pt>
                <c:pt idx="96">
                  <c:v>9611</c:v>
                </c:pt>
                <c:pt idx="97">
                  <c:v>9733</c:v>
                </c:pt>
                <c:pt idx="98">
                  <c:v>9809</c:v>
                </c:pt>
                <c:pt idx="99">
                  <c:v>9871</c:v>
                </c:pt>
                <c:pt idx="100">
                  <c:v>9931</c:v>
                </c:pt>
                <c:pt idx="101">
                  <c:v>10009</c:v>
                </c:pt>
                <c:pt idx="102">
                  <c:v>10030</c:v>
                </c:pt>
                <c:pt idx="103">
                  <c:v>10046</c:v>
                </c:pt>
                <c:pt idx="104">
                  <c:v>10176</c:v>
                </c:pt>
                <c:pt idx="105">
                  <c:v>10248</c:v>
                </c:pt>
                <c:pt idx="106">
                  <c:v>10342</c:v>
                </c:pt>
                <c:pt idx="107">
                  <c:v>10393</c:v>
                </c:pt>
                <c:pt idx="108">
                  <c:v>10468</c:v>
                </c:pt>
                <c:pt idx="109">
                  <c:v>10495</c:v>
                </c:pt>
                <c:pt idx="110">
                  <c:v>10522</c:v>
                </c:pt>
                <c:pt idx="111">
                  <c:v>10679</c:v>
                </c:pt>
                <c:pt idx="112">
                  <c:v>10789</c:v>
                </c:pt>
                <c:pt idx="113">
                  <c:v>10903</c:v>
                </c:pt>
                <c:pt idx="114">
                  <c:v>10931</c:v>
                </c:pt>
                <c:pt idx="115">
                  <c:v>10975</c:v>
                </c:pt>
                <c:pt idx="116">
                  <c:v>11024</c:v>
                </c:pt>
                <c:pt idx="117">
                  <c:v>11070</c:v>
                </c:pt>
                <c:pt idx="118">
                  <c:v>11259</c:v>
                </c:pt>
                <c:pt idx="119">
                  <c:v>11404</c:v>
                </c:pt>
                <c:pt idx="120">
                  <c:v>11514</c:v>
                </c:pt>
                <c:pt idx="121">
                  <c:v>11598</c:v>
                </c:pt>
                <c:pt idx="122">
                  <c:v>11626</c:v>
                </c:pt>
                <c:pt idx="123">
                  <c:v>11683</c:v>
                </c:pt>
                <c:pt idx="124">
                  <c:v>11718</c:v>
                </c:pt>
                <c:pt idx="125">
                  <c:v>11985</c:v>
                </c:pt>
                <c:pt idx="126">
                  <c:v>12128</c:v>
                </c:pt>
                <c:pt idx="127">
                  <c:v>12239</c:v>
                </c:pt>
                <c:pt idx="128">
                  <c:v>12337</c:v>
                </c:pt>
                <c:pt idx="129">
                  <c:v>12457</c:v>
                </c:pt>
                <c:pt idx="130">
                  <c:v>12505</c:v>
                </c:pt>
                <c:pt idx="131">
                  <c:v>12529</c:v>
                </c:pt>
                <c:pt idx="132">
                  <c:v>12756</c:v>
                </c:pt>
                <c:pt idx="133">
                  <c:v>12851</c:v>
                </c:pt>
                <c:pt idx="134">
                  <c:v>12957</c:v>
                </c:pt>
                <c:pt idx="135">
                  <c:v>13010</c:v>
                </c:pt>
                <c:pt idx="136">
                  <c:v>13074</c:v>
                </c:pt>
                <c:pt idx="137">
                  <c:v>13105</c:v>
                </c:pt>
                <c:pt idx="138">
                  <c:v>13131</c:v>
                </c:pt>
                <c:pt idx="139">
                  <c:v>13254</c:v>
                </c:pt>
                <c:pt idx="140">
                  <c:v>13328</c:v>
                </c:pt>
                <c:pt idx="141">
                  <c:v>13399</c:v>
                </c:pt>
                <c:pt idx="142">
                  <c:v>13458</c:v>
                </c:pt>
                <c:pt idx="143">
                  <c:v>13536</c:v>
                </c:pt>
                <c:pt idx="144">
                  <c:v>13562</c:v>
                </c:pt>
                <c:pt idx="145">
                  <c:v>13573</c:v>
                </c:pt>
                <c:pt idx="146">
                  <c:v>13662</c:v>
                </c:pt>
                <c:pt idx="147">
                  <c:v>13738</c:v>
                </c:pt>
                <c:pt idx="148">
                  <c:v>13797</c:v>
                </c:pt>
                <c:pt idx="149">
                  <c:v>13829</c:v>
                </c:pt>
                <c:pt idx="150">
                  <c:v>13875</c:v>
                </c:pt>
                <c:pt idx="151">
                  <c:v>13904</c:v>
                </c:pt>
                <c:pt idx="152">
                  <c:v>13913</c:v>
                </c:pt>
                <c:pt idx="153">
                  <c:v>13991</c:v>
                </c:pt>
                <c:pt idx="154">
                  <c:v>14059</c:v>
                </c:pt>
                <c:pt idx="155">
                  <c:v>14115</c:v>
                </c:pt>
                <c:pt idx="156">
                  <c:v>14156</c:v>
                </c:pt>
                <c:pt idx="157">
                  <c:v>14202</c:v>
                </c:pt>
                <c:pt idx="158">
                  <c:v>14212</c:v>
                </c:pt>
                <c:pt idx="159">
                  <c:v>14229</c:v>
                </c:pt>
                <c:pt idx="160">
                  <c:v>14297</c:v>
                </c:pt>
                <c:pt idx="161">
                  <c:v>14318</c:v>
                </c:pt>
                <c:pt idx="162">
                  <c:v>14351</c:v>
                </c:pt>
                <c:pt idx="163">
                  <c:v>14389</c:v>
                </c:pt>
                <c:pt idx="164">
                  <c:v>14428</c:v>
                </c:pt>
                <c:pt idx="165">
                  <c:v>14443</c:v>
                </c:pt>
                <c:pt idx="166">
                  <c:v>14453</c:v>
                </c:pt>
                <c:pt idx="167">
                  <c:v>14515</c:v>
                </c:pt>
                <c:pt idx="168">
                  <c:v>14548</c:v>
                </c:pt>
                <c:pt idx="169">
                  <c:v>14584</c:v>
                </c:pt>
                <c:pt idx="170">
                  <c:v>14612</c:v>
                </c:pt>
                <c:pt idx="171">
                  <c:v>14646</c:v>
                </c:pt>
                <c:pt idx="172">
                  <c:v>14652</c:v>
                </c:pt>
                <c:pt idx="173">
                  <c:v>14670</c:v>
                </c:pt>
                <c:pt idx="174">
                  <c:v>14741</c:v>
                </c:pt>
                <c:pt idx="175">
                  <c:v>14785</c:v>
                </c:pt>
                <c:pt idx="176">
                  <c:v>14819</c:v>
                </c:pt>
                <c:pt idx="177">
                  <c:v>14850</c:v>
                </c:pt>
                <c:pt idx="178">
                  <c:v>14888</c:v>
                </c:pt>
                <c:pt idx="179">
                  <c:v>14897</c:v>
                </c:pt>
                <c:pt idx="180">
                  <c:v>14906</c:v>
                </c:pt>
                <c:pt idx="181">
                  <c:v>14962</c:v>
                </c:pt>
                <c:pt idx="182">
                  <c:v>15000</c:v>
                </c:pt>
                <c:pt idx="183">
                  <c:v>15055</c:v>
                </c:pt>
                <c:pt idx="184">
                  <c:v>15092</c:v>
                </c:pt>
                <c:pt idx="185">
                  <c:v>15120</c:v>
                </c:pt>
                <c:pt idx="186">
                  <c:v>15134</c:v>
                </c:pt>
                <c:pt idx="187">
                  <c:v>15143</c:v>
                </c:pt>
                <c:pt idx="188">
                  <c:v>15202</c:v>
                </c:pt>
                <c:pt idx="189">
                  <c:v>15239</c:v>
                </c:pt>
                <c:pt idx="190">
                  <c:v>15268</c:v>
                </c:pt>
                <c:pt idx="191">
                  <c:v>15294</c:v>
                </c:pt>
                <c:pt idx="192">
                  <c:v>15312</c:v>
                </c:pt>
                <c:pt idx="193">
                  <c:v>15323</c:v>
                </c:pt>
                <c:pt idx="194">
                  <c:v>15330</c:v>
                </c:pt>
                <c:pt idx="195">
                  <c:v>15365</c:v>
                </c:pt>
                <c:pt idx="196">
                  <c:v>15388</c:v>
                </c:pt>
                <c:pt idx="197">
                  <c:v>15411</c:v>
                </c:pt>
                <c:pt idx="198">
                  <c:v>15427</c:v>
                </c:pt>
                <c:pt idx="199">
                  <c:v>15447</c:v>
                </c:pt>
                <c:pt idx="200">
                  <c:v>15448</c:v>
                </c:pt>
                <c:pt idx="201">
                  <c:v>15452</c:v>
                </c:pt>
                <c:pt idx="202">
                  <c:v>15480</c:v>
                </c:pt>
                <c:pt idx="203">
                  <c:v>15498</c:v>
                </c:pt>
                <c:pt idx="204">
                  <c:v>15508</c:v>
                </c:pt>
                <c:pt idx="205">
                  <c:v>15516</c:v>
                </c:pt>
                <c:pt idx="206">
                  <c:v>15532</c:v>
                </c:pt>
                <c:pt idx="207">
                  <c:v>15535</c:v>
                </c:pt>
                <c:pt idx="208">
                  <c:v>15536</c:v>
                </c:pt>
                <c:pt idx="209">
                  <c:v>15554</c:v>
                </c:pt>
                <c:pt idx="210">
                  <c:v>15567</c:v>
                </c:pt>
                <c:pt idx="211">
                  <c:v>15580</c:v>
                </c:pt>
                <c:pt idx="212">
                  <c:v>15591</c:v>
                </c:pt>
                <c:pt idx="213">
                  <c:v>15594</c:v>
                </c:pt>
                <c:pt idx="214">
                  <c:v>15597</c:v>
                </c:pt>
                <c:pt idx="215">
                  <c:v>15599</c:v>
                </c:pt>
                <c:pt idx="216">
                  <c:v>15604</c:v>
                </c:pt>
                <c:pt idx="217">
                  <c:v>15624</c:v>
                </c:pt>
                <c:pt idx="218">
                  <c:v>15640</c:v>
                </c:pt>
                <c:pt idx="219">
                  <c:v>15656</c:v>
                </c:pt>
                <c:pt idx="220">
                  <c:v>15664</c:v>
                </c:pt>
                <c:pt idx="221">
                  <c:v>15668</c:v>
                </c:pt>
                <c:pt idx="222">
                  <c:v>15669</c:v>
                </c:pt>
                <c:pt idx="223">
                  <c:v>15677</c:v>
                </c:pt>
                <c:pt idx="224">
                  <c:v>15683</c:v>
                </c:pt>
                <c:pt idx="225">
                  <c:v>15687</c:v>
                </c:pt>
                <c:pt idx="226">
                  <c:v>15693</c:v>
                </c:pt>
                <c:pt idx="227">
                  <c:v>15699</c:v>
                </c:pt>
                <c:pt idx="228">
                  <c:v>15700</c:v>
                </c:pt>
                <c:pt idx="229">
                  <c:v>15701</c:v>
                </c:pt>
                <c:pt idx="230">
                  <c:v>15711</c:v>
                </c:pt>
                <c:pt idx="231">
                  <c:v>15714</c:v>
                </c:pt>
                <c:pt idx="232">
                  <c:v>15717</c:v>
                </c:pt>
                <c:pt idx="233">
                  <c:v>15721</c:v>
                </c:pt>
                <c:pt idx="234">
                  <c:v>15724</c:v>
                </c:pt>
                <c:pt idx="235">
                  <c:v>15725</c:v>
                </c:pt>
                <c:pt idx="236">
                  <c:v>15725</c:v>
                </c:pt>
                <c:pt idx="237">
                  <c:v>15731</c:v>
                </c:pt>
                <c:pt idx="238">
                  <c:v>15737</c:v>
                </c:pt>
                <c:pt idx="239">
                  <c:v>15739</c:v>
                </c:pt>
                <c:pt idx="240">
                  <c:v>15741</c:v>
                </c:pt>
                <c:pt idx="241">
                  <c:v>15745</c:v>
                </c:pt>
                <c:pt idx="242">
                  <c:v>15745</c:v>
                </c:pt>
                <c:pt idx="243">
                  <c:v>15746</c:v>
                </c:pt>
                <c:pt idx="244">
                  <c:v>15748</c:v>
                </c:pt>
                <c:pt idx="245">
                  <c:v>15750</c:v>
                </c:pt>
                <c:pt idx="246">
                  <c:v>15751</c:v>
                </c:pt>
                <c:pt idx="247">
                  <c:v>15756</c:v>
                </c:pt>
                <c:pt idx="248">
                  <c:v>15758</c:v>
                </c:pt>
                <c:pt idx="249">
                  <c:v>15759</c:v>
                </c:pt>
                <c:pt idx="250">
                  <c:v>15759</c:v>
                </c:pt>
                <c:pt idx="251">
                  <c:v>15760</c:v>
                </c:pt>
                <c:pt idx="252">
                  <c:v>15764</c:v>
                </c:pt>
                <c:pt idx="253">
                  <c:v>15764</c:v>
                </c:pt>
                <c:pt idx="254">
                  <c:v>15766</c:v>
                </c:pt>
                <c:pt idx="255">
                  <c:v>15767</c:v>
                </c:pt>
                <c:pt idx="256">
                  <c:v>15767</c:v>
                </c:pt>
                <c:pt idx="257">
                  <c:v>15767</c:v>
                </c:pt>
                <c:pt idx="258">
                  <c:v>15771</c:v>
                </c:pt>
                <c:pt idx="259">
                  <c:v>15775</c:v>
                </c:pt>
                <c:pt idx="260">
                  <c:v>15776</c:v>
                </c:pt>
                <c:pt idx="261">
                  <c:v>15779</c:v>
                </c:pt>
                <c:pt idx="262">
                  <c:v>15779</c:v>
                </c:pt>
                <c:pt idx="263">
                  <c:v>15779</c:v>
                </c:pt>
                <c:pt idx="264">
                  <c:v>15779</c:v>
                </c:pt>
                <c:pt idx="265">
                  <c:v>15781</c:v>
                </c:pt>
                <c:pt idx="266">
                  <c:v>15782</c:v>
                </c:pt>
                <c:pt idx="267">
                  <c:v>15783</c:v>
                </c:pt>
                <c:pt idx="268">
                  <c:v>15784</c:v>
                </c:pt>
                <c:pt idx="269">
                  <c:v>15784</c:v>
                </c:pt>
                <c:pt idx="270">
                  <c:v>15784</c:v>
                </c:pt>
                <c:pt idx="271">
                  <c:v>15784</c:v>
                </c:pt>
                <c:pt idx="272">
                  <c:v>15784</c:v>
                </c:pt>
                <c:pt idx="273">
                  <c:v>15784</c:v>
                </c:pt>
                <c:pt idx="274">
                  <c:v>15784</c:v>
                </c:pt>
                <c:pt idx="275">
                  <c:v>15785</c:v>
                </c:pt>
                <c:pt idx="276">
                  <c:v>15785</c:v>
                </c:pt>
                <c:pt idx="277">
                  <c:v>15785</c:v>
                </c:pt>
                <c:pt idx="278">
                  <c:v>15785</c:v>
                </c:pt>
                <c:pt idx="279">
                  <c:v>15785</c:v>
                </c:pt>
                <c:pt idx="280">
                  <c:v>15785</c:v>
                </c:pt>
                <c:pt idx="281">
                  <c:v>15785</c:v>
                </c:pt>
                <c:pt idx="282">
                  <c:v>15785</c:v>
                </c:pt>
                <c:pt idx="283">
                  <c:v>15785</c:v>
                </c:pt>
                <c:pt idx="284">
                  <c:v>15785</c:v>
                </c:pt>
                <c:pt idx="285">
                  <c:v>15785</c:v>
                </c:pt>
                <c:pt idx="286">
                  <c:v>15785</c:v>
                </c:pt>
                <c:pt idx="287">
                  <c:v>15785</c:v>
                </c:pt>
                <c:pt idx="288">
                  <c:v>15785</c:v>
                </c:pt>
                <c:pt idx="289">
                  <c:v>15785</c:v>
                </c:pt>
                <c:pt idx="290">
                  <c:v>15785</c:v>
                </c:pt>
                <c:pt idx="291">
                  <c:v>15785</c:v>
                </c:pt>
                <c:pt idx="292">
                  <c:v>15785</c:v>
                </c:pt>
                <c:pt idx="293">
                  <c:v>15785</c:v>
                </c:pt>
                <c:pt idx="294">
                  <c:v>15785</c:v>
                </c:pt>
                <c:pt idx="295">
                  <c:v>15785</c:v>
                </c:pt>
                <c:pt idx="296">
                  <c:v>15785</c:v>
                </c:pt>
                <c:pt idx="297">
                  <c:v>15785</c:v>
                </c:pt>
                <c:pt idx="298">
                  <c:v>15785</c:v>
                </c:pt>
                <c:pt idx="299">
                  <c:v>15785</c:v>
                </c:pt>
                <c:pt idx="300">
                  <c:v>15785</c:v>
                </c:pt>
                <c:pt idx="301">
                  <c:v>15785</c:v>
                </c:pt>
                <c:pt idx="302">
                  <c:v>15786</c:v>
                </c:pt>
                <c:pt idx="303">
                  <c:v>15786</c:v>
                </c:pt>
                <c:pt idx="304">
                  <c:v>15786</c:v>
                </c:pt>
                <c:pt idx="305">
                  <c:v>15786</c:v>
                </c:pt>
                <c:pt idx="306">
                  <c:v>15786</c:v>
                </c:pt>
                <c:pt idx="307">
                  <c:v>15786</c:v>
                </c:pt>
                <c:pt idx="308">
                  <c:v>15786</c:v>
                </c:pt>
                <c:pt idx="309">
                  <c:v>15786</c:v>
                </c:pt>
                <c:pt idx="310">
                  <c:v>15786</c:v>
                </c:pt>
                <c:pt idx="311">
                  <c:v>15786</c:v>
                </c:pt>
                <c:pt idx="312">
                  <c:v>15786</c:v>
                </c:pt>
                <c:pt idx="313">
                  <c:v>15787</c:v>
                </c:pt>
                <c:pt idx="314">
                  <c:v>15787</c:v>
                </c:pt>
                <c:pt idx="315">
                  <c:v>15787</c:v>
                </c:pt>
                <c:pt idx="316">
                  <c:v>15787</c:v>
                </c:pt>
                <c:pt idx="317">
                  <c:v>15787</c:v>
                </c:pt>
                <c:pt idx="318">
                  <c:v>15787</c:v>
                </c:pt>
                <c:pt idx="319">
                  <c:v>15787</c:v>
                </c:pt>
                <c:pt idx="320">
                  <c:v>15787</c:v>
                </c:pt>
                <c:pt idx="321">
                  <c:v>15787</c:v>
                </c:pt>
                <c:pt idx="322">
                  <c:v>15787</c:v>
                </c:pt>
                <c:pt idx="323">
                  <c:v>15788</c:v>
                </c:pt>
                <c:pt idx="324">
                  <c:v>15788</c:v>
                </c:pt>
                <c:pt idx="325">
                  <c:v>15788</c:v>
                </c:pt>
                <c:pt idx="326">
                  <c:v>15788</c:v>
                </c:pt>
                <c:pt idx="327">
                  <c:v>15788</c:v>
                </c:pt>
                <c:pt idx="328">
                  <c:v>15788</c:v>
                </c:pt>
                <c:pt idx="329">
                  <c:v>15789</c:v>
                </c:pt>
                <c:pt idx="330">
                  <c:v>15791</c:v>
                </c:pt>
                <c:pt idx="331">
                  <c:v>15791</c:v>
                </c:pt>
                <c:pt idx="332">
                  <c:v>15791</c:v>
                </c:pt>
                <c:pt idx="333">
                  <c:v>15791</c:v>
                </c:pt>
                <c:pt idx="334">
                  <c:v>15791</c:v>
                </c:pt>
                <c:pt idx="335">
                  <c:v>15791</c:v>
                </c:pt>
                <c:pt idx="336">
                  <c:v>15791</c:v>
                </c:pt>
                <c:pt idx="337">
                  <c:v>15791</c:v>
                </c:pt>
                <c:pt idx="338">
                  <c:v>15791</c:v>
                </c:pt>
                <c:pt idx="339">
                  <c:v>15791</c:v>
                </c:pt>
                <c:pt idx="340">
                  <c:v>15791</c:v>
                </c:pt>
                <c:pt idx="341">
                  <c:v>15792</c:v>
                </c:pt>
                <c:pt idx="342">
                  <c:v>15792</c:v>
                </c:pt>
                <c:pt idx="343">
                  <c:v>15792</c:v>
                </c:pt>
                <c:pt idx="344">
                  <c:v>15793</c:v>
                </c:pt>
                <c:pt idx="345">
                  <c:v>15793</c:v>
                </c:pt>
                <c:pt idx="346">
                  <c:v>15793</c:v>
                </c:pt>
                <c:pt idx="347">
                  <c:v>15793</c:v>
                </c:pt>
                <c:pt idx="348">
                  <c:v>15793</c:v>
                </c:pt>
                <c:pt idx="349">
                  <c:v>15793</c:v>
                </c:pt>
                <c:pt idx="350">
                  <c:v>15793</c:v>
                </c:pt>
                <c:pt idx="351">
                  <c:v>15793</c:v>
                </c:pt>
                <c:pt idx="352">
                  <c:v>15793</c:v>
                </c:pt>
                <c:pt idx="353">
                  <c:v>15793</c:v>
                </c:pt>
                <c:pt idx="354">
                  <c:v>15793</c:v>
                </c:pt>
                <c:pt idx="355">
                  <c:v>15793</c:v>
                </c:pt>
                <c:pt idx="356">
                  <c:v>15794</c:v>
                </c:pt>
                <c:pt idx="357">
                  <c:v>15794</c:v>
                </c:pt>
                <c:pt idx="358">
                  <c:v>15794</c:v>
                </c:pt>
                <c:pt idx="359">
                  <c:v>15795</c:v>
                </c:pt>
                <c:pt idx="360">
                  <c:v>15796</c:v>
                </c:pt>
                <c:pt idx="361">
                  <c:v>15797</c:v>
                </c:pt>
                <c:pt idx="362">
                  <c:v>15797</c:v>
                </c:pt>
                <c:pt idx="363">
                  <c:v>15797</c:v>
                </c:pt>
                <c:pt idx="364">
                  <c:v>15797</c:v>
                </c:pt>
                <c:pt idx="365">
                  <c:v>15799</c:v>
                </c:pt>
                <c:pt idx="366">
                  <c:v>15800</c:v>
                </c:pt>
                <c:pt idx="367">
                  <c:v>15801</c:v>
                </c:pt>
                <c:pt idx="368">
                  <c:v>15801</c:v>
                </c:pt>
                <c:pt idx="369">
                  <c:v>15801</c:v>
                </c:pt>
                <c:pt idx="370">
                  <c:v>15802</c:v>
                </c:pt>
                <c:pt idx="371">
                  <c:v>15804</c:v>
                </c:pt>
                <c:pt idx="372">
                  <c:v>15805</c:v>
                </c:pt>
                <c:pt idx="373">
                  <c:v>15806</c:v>
                </c:pt>
                <c:pt idx="374">
                  <c:v>15806</c:v>
                </c:pt>
                <c:pt idx="375">
                  <c:v>15806</c:v>
                </c:pt>
                <c:pt idx="376">
                  <c:v>15807</c:v>
                </c:pt>
                <c:pt idx="377">
                  <c:v>15807</c:v>
                </c:pt>
                <c:pt idx="378">
                  <c:v>15808</c:v>
                </c:pt>
                <c:pt idx="379">
                  <c:v>15808</c:v>
                </c:pt>
                <c:pt idx="380">
                  <c:v>15808</c:v>
                </c:pt>
                <c:pt idx="381">
                  <c:v>15808</c:v>
                </c:pt>
                <c:pt idx="382">
                  <c:v>15809</c:v>
                </c:pt>
                <c:pt idx="383">
                  <c:v>15809</c:v>
                </c:pt>
                <c:pt idx="384">
                  <c:v>15813</c:v>
                </c:pt>
                <c:pt idx="385">
                  <c:v>15816</c:v>
                </c:pt>
                <c:pt idx="386">
                  <c:v>15818</c:v>
                </c:pt>
                <c:pt idx="387">
                  <c:v>15818</c:v>
                </c:pt>
                <c:pt idx="388">
                  <c:v>15818</c:v>
                </c:pt>
                <c:pt idx="389">
                  <c:v>15819</c:v>
                </c:pt>
                <c:pt idx="390">
                  <c:v>15819</c:v>
                </c:pt>
                <c:pt idx="391">
                  <c:v>15824</c:v>
                </c:pt>
                <c:pt idx="392">
                  <c:v>15826</c:v>
                </c:pt>
                <c:pt idx="393">
                  <c:v>15833</c:v>
                </c:pt>
                <c:pt idx="394">
                  <c:v>15836</c:v>
                </c:pt>
                <c:pt idx="395">
                  <c:v>15838</c:v>
                </c:pt>
                <c:pt idx="396">
                  <c:v>15838</c:v>
                </c:pt>
                <c:pt idx="397">
                  <c:v>15838</c:v>
                </c:pt>
                <c:pt idx="398">
                  <c:v>15841</c:v>
                </c:pt>
                <c:pt idx="399">
                  <c:v>15846</c:v>
                </c:pt>
                <c:pt idx="400">
                  <c:v>15848</c:v>
                </c:pt>
                <c:pt idx="401">
                  <c:v>15849</c:v>
                </c:pt>
                <c:pt idx="402">
                  <c:v>15851</c:v>
                </c:pt>
                <c:pt idx="403">
                  <c:v>15852</c:v>
                </c:pt>
                <c:pt idx="404">
                  <c:v>15852</c:v>
                </c:pt>
                <c:pt idx="405">
                  <c:v>15854</c:v>
                </c:pt>
                <c:pt idx="406">
                  <c:v>15857</c:v>
                </c:pt>
                <c:pt idx="407">
                  <c:v>15858</c:v>
                </c:pt>
                <c:pt idx="408">
                  <c:v>15861</c:v>
                </c:pt>
                <c:pt idx="409">
                  <c:v>15867</c:v>
                </c:pt>
                <c:pt idx="410">
                  <c:v>15869</c:v>
                </c:pt>
                <c:pt idx="411">
                  <c:v>15870</c:v>
                </c:pt>
                <c:pt idx="412">
                  <c:v>15882</c:v>
                </c:pt>
                <c:pt idx="413">
                  <c:v>15889</c:v>
                </c:pt>
                <c:pt idx="414">
                  <c:v>15898</c:v>
                </c:pt>
                <c:pt idx="415">
                  <c:v>15905</c:v>
                </c:pt>
                <c:pt idx="416">
                  <c:v>15915</c:v>
                </c:pt>
                <c:pt idx="417">
                  <c:v>15915</c:v>
                </c:pt>
                <c:pt idx="418">
                  <c:v>15918</c:v>
                </c:pt>
                <c:pt idx="419">
                  <c:v>15935</c:v>
                </c:pt>
                <c:pt idx="420">
                  <c:v>15940</c:v>
                </c:pt>
                <c:pt idx="421">
                  <c:v>15955</c:v>
                </c:pt>
                <c:pt idx="422">
                  <c:v>15958</c:v>
                </c:pt>
                <c:pt idx="423">
                  <c:v>15966</c:v>
                </c:pt>
                <c:pt idx="424">
                  <c:v>15971</c:v>
                </c:pt>
                <c:pt idx="425">
                  <c:v>15975</c:v>
                </c:pt>
                <c:pt idx="426">
                  <c:v>16014</c:v>
                </c:pt>
                <c:pt idx="427">
                  <c:v>16037</c:v>
                </c:pt>
                <c:pt idx="428">
                  <c:v>16056</c:v>
                </c:pt>
                <c:pt idx="429">
                  <c:v>16080</c:v>
                </c:pt>
                <c:pt idx="430">
                  <c:v>16104</c:v>
                </c:pt>
                <c:pt idx="431">
                  <c:v>16115</c:v>
                </c:pt>
                <c:pt idx="432">
                  <c:v>16120</c:v>
                </c:pt>
                <c:pt idx="433">
                  <c:v>16155</c:v>
                </c:pt>
                <c:pt idx="434">
                  <c:v>16183</c:v>
                </c:pt>
                <c:pt idx="435">
                  <c:v>16218</c:v>
                </c:pt>
                <c:pt idx="436">
                  <c:v>16253</c:v>
                </c:pt>
                <c:pt idx="437">
                  <c:v>16285</c:v>
                </c:pt>
                <c:pt idx="438">
                  <c:v>16308</c:v>
                </c:pt>
                <c:pt idx="439">
                  <c:v>16323</c:v>
                </c:pt>
                <c:pt idx="440">
                  <c:v>16366</c:v>
                </c:pt>
                <c:pt idx="441">
                  <c:v>16418</c:v>
                </c:pt>
                <c:pt idx="442">
                  <c:v>16433</c:v>
                </c:pt>
                <c:pt idx="443">
                  <c:v>16473</c:v>
                </c:pt>
                <c:pt idx="444">
                  <c:v>16535</c:v>
                </c:pt>
                <c:pt idx="445">
                  <c:v>16560</c:v>
                </c:pt>
                <c:pt idx="446">
                  <c:v>16568</c:v>
                </c:pt>
                <c:pt idx="447">
                  <c:v>16615</c:v>
                </c:pt>
                <c:pt idx="448">
                  <c:v>16667</c:v>
                </c:pt>
                <c:pt idx="449">
                  <c:v>16710</c:v>
                </c:pt>
                <c:pt idx="450">
                  <c:v>16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C3-4558-95C0-65D81E5CAFC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List1!$D$2:$D$452</c:f>
              <c:numCache>
                <c:formatCode>General</c:formatCode>
                <c:ptCount val="451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20</c:v>
                </c:pt>
                <c:pt idx="12">
                  <c:v>21</c:v>
                </c:pt>
                <c:pt idx="13">
                  <c:v>24</c:v>
                </c:pt>
                <c:pt idx="14">
                  <c:v>25</c:v>
                </c:pt>
                <c:pt idx="15">
                  <c:v>27</c:v>
                </c:pt>
                <c:pt idx="16">
                  <c:v>29</c:v>
                </c:pt>
                <c:pt idx="17">
                  <c:v>33</c:v>
                </c:pt>
                <c:pt idx="18">
                  <c:v>35</c:v>
                </c:pt>
                <c:pt idx="19">
                  <c:v>42</c:v>
                </c:pt>
                <c:pt idx="20">
                  <c:v>48</c:v>
                </c:pt>
                <c:pt idx="21">
                  <c:v>52</c:v>
                </c:pt>
                <c:pt idx="22">
                  <c:v>54</c:v>
                </c:pt>
                <c:pt idx="23">
                  <c:v>61</c:v>
                </c:pt>
                <c:pt idx="24">
                  <c:v>74</c:v>
                </c:pt>
                <c:pt idx="25">
                  <c:v>86</c:v>
                </c:pt>
                <c:pt idx="26">
                  <c:v>93</c:v>
                </c:pt>
                <c:pt idx="27">
                  <c:v>100</c:v>
                </c:pt>
                <c:pt idx="28">
                  <c:v>128</c:v>
                </c:pt>
                <c:pt idx="29">
                  <c:v>166</c:v>
                </c:pt>
                <c:pt idx="30">
                  <c:v>226</c:v>
                </c:pt>
                <c:pt idx="31">
                  <c:v>378</c:v>
                </c:pt>
                <c:pt idx="32">
                  <c:v>445</c:v>
                </c:pt>
                <c:pt idx="33">
                  <c:v>528</c:v>
                </c:pt>
                <c:pt idx="34">
                  <c:v>766</c:v>
                </c:pt>
                <c:pt idx="35">
                  <c:v>894</c:v>
                </c:pt>
                <c:pt idx="36">
                  <c:v>981</c:v>
                </c:pt>
                <c:pt idx="37">
                  <c:v>1143</c:v>
                </c:pt>
                <c:pt idx="38">
                  <c:v>1369</c:v>
                </c:pt>
                <c:pt idx="39">
                  <c:v>1450</c:v>
                </c:pt>
                <c:pt idx="40">
                  <c:v>1486</c:v>
                </c:pt>
                <c:pt idx="41">
                  <c:v>1778</c:v>
                </c:pt>
                <c:pt idx="42">
                  <c:v>2154</c:v>
                </c:pt>
                <c:pt idx="43">
                  <c:v>2525</c:v>
                </c:pt>
                <c:pt idx="44">
                  <c:v>2911</c:v>
                </c:pt>
                <c:pt idx="45">
                  <c:v>3327</c:v>
                </c:pt>
                <c:pt idx="46">
                  <c:v>3585</c:v>
                </c:pt>
                <c:pt idx="47">
                  <c:v>3674</c:v>
                </c:pt>
                <c:pt idx="48">
                  <c:v>4104</c:v>
                </c:pt>
                <c:pt idx="49">
                  <c:v>4493</c:v>
                </c:pt>
                <c:pt idx="50">
                  <c:v>5076</c:v>
                </c:pt>
                <c:pt idx="51">
                  <c:v>5538</c:v>
                </c:pt>
                <c:pt idx="52">
                  <c:v>6287</c:v>
                </c:pt>
                <c:pt idx="53">
                  <c:v>6701</c:v>
                </c:pt>
                <c:pt idx="54">
                  <c:v>6986</c:v>
                </c:pt>
                <c:pt idx="55">
                  <c:v>7745</c:v>
                </c:pt>
                <c:pt idx="56">
                  <c:v>8663</c:v>
                </c:pt>
                <c:pt idx="57">
                  <c:v>9056</c:v>
                </c:pt>
                <c:pt idx="58">
                  <c:v>10060</c:v>
                </c:pt>
                <c:pt idx="59">
                  <c:v>10978</c:v>
                </c:pt>
                <c:pt idx="60">
                  <c:v>11496</c:v>
                </c:pt>
                <c:pt idx="61">
                  <c:v>11824</c:v>
                </c:pt>
                <c:pt idx="62">
                  <c:v>12451</c:v>
                </c:pt>
                <c:pt idx="63">
                  <c:v>13012</c:v>
                </c:pt>
                <c:pt idx="64">
                  <c:v>13763</c:v>
                </c:pt>
                <c:pt idx="65">
                  <c:v>14574</c:v>
                </c:pt>
                <c:pt idx="66">
                  <c:v>15300</c:v>
                </c:pt>
                <c:pt idx="67">
                  <c:v>15630</c:v>
                </c:pt>
                <c:pt idx="68">
                  <c:v>15755</c:v>
                </c:pt>
                <c:pt idx="69">
                  <c:v>16153</c:v>
                </c:pt>
                <c:pt idx="70">
                  <c:v>16740</c:v>
                </c:pt>
                <c:pt idx="71">
                  <c:v>17677</c:v>
                </c:pt>
                <c:pt idx="72">
                  <c:v>18404</c:v>
                </c:pt>
                <c:pt idx="73">
                  <c:v>19088</c:v>
                </c:pt>
                <c:pt idx="74">
                  <c:v>19339</c:v>
                </c:pt>
                <c:pt idx="75">
                  <c:v>19533</c:v>
                </c:pt>
                <c:pt idx="76">
                  <c:v>20090</c:v>
                </c:pt>
                <c:pt idx="77">
                  <c:v>20273</c:v>
                </c:pt>
                <c:pt idx="78">
                  <c:v>20703</c:v>
                </c:pt>
                <c:pt idx="79">
                  <c:v>21097</c:v>
                </c:pt>
                <c:pt idx="80">
                  <c:v>21455</c:v>
                </c:pt>
                <c:pt idx="81">
                  <c:v>21583</c:v>
                </c:pt>
                <c:pt idx="82">
                  <c:v>21691</c:v>
                </c:pt>
                <c:pt idx="83">
                  <c:v>22210</c:v>
                </c:pt>
                <c:pt idx="84">
                  <c:v>22513</c:v>
                </c:pt>
                <c:pt idx="85">
                  <c:v>22729</c:v>
                </c:pt>
                <c:pt idx="86">
                  <c:v>22978</c:v>
                </c:pt>
                <c:pt idx="87">
                  <c:v>23199</c:v>
                </c:pt>
                <c:pt idx="88">
                  <c:v>23300</c:v>
                </c:pt>
                <c:pt idx="89">
                  <c:v>23343</c:v>
                </c:pt>
                <c:pt idx="90">
                  <c:v>23666</c:v>
                </c:pt>
                <c:pt idx="91">
                  <c:v>23874</c:v>
                </c:pt>
                <c:pt idx="92">
                  <c:v>24072</c:v>
                </c:pt>
                <c:pt idx="93">
                  <c:v>24259</c:v>
                </c:pt>
                <c:pt idx="94">
                  <c:v>24489</c:v>
                </c:pt>
                <c:pt idx="95">
                  <c:v>24617</c:v>
                </c:pt>
                <c:pt idx="96">
                  <c:v>24661</c:v>
                </c:pt>
                <c:pt idx="97">
                  <c:v>24925</c:v>
                </c:pt>
                <c:pt idx="98">
                  <c:v>25090</c:v>
                </c:pt>
                <c:pt idx="99">
                  <c:v>25293</c:v>
                </c:pt>
                <c:pt idx="100">
                  <c:v>25437</c:v>
                </c:pt>
                <c:pt idx="101">
                  <c:v>25745</c:v>
                </c:pt>
                <c:pt idx="102">
                  <c:v>25833</c:v>
                </c:pt>
                <c:pt idx="103">
                  <c:v>25899</c:v>
                </c:pt>
                <c:pt idx="104">
                  <c:v>26177</c:v>
                </c:pt>
                <c:pt idx="105">
                  <c:v>26382</c:v>
                </c:pt>
                <c:pt idx="106">
                  <c:v>26576</c:v>
                </c:pt>
                <c:pt idx="107">
                  <c:v>26695</c:v>
                </c:pt>
                <c:pt idx="108">
                  <c:v>26985</c:v>
                </c:pt>
                <c:pt idx="109">
                  <c:v>27073</c:v>
                </c:pt>
                <c:pt idx="110">
                  <c:v>27121</c:v>
                </c:pt>
                <c:pt idx="111">
                  <c:v>27456</c:v>
                </c:pt>
                <c:pt idx="112">
                  <c:v>27741</c:v>
                </c:pt>
                <c:pt idx="113">
                  <c:v>27977</c:v>
                </c:pt>
                <c:pt idx="114">
                  <c:v>28023</c:v>
                </c:pt>
                <c:pt idx="115">
                  <c:v>28138</c:v>
                </c:pt>
                <c:pt idx="116">
                  <c:v>28265</c:v>
                </c:pt>
                <c:pt idx="117">
                  <c:v>28408</c:v>
                </c:pt>
                <c:pt idx="118">
                  <c:v>28762</c:v>
                </c:pt>
                <c:pt idx="119">
                  <c:v>29092</c:v>
                </c:pt>
                <c:pt idx="120">
                  <c:v>29346</c:v>
                </c:pt>
                <c:pt idx="121">
                  <c:v>29563</c:v>
                </c:pt>
                <c:pt idx="122">
                  <c:v>29656</c:v>
                </c:pt>
                <c:pt idx="123">
                  <c:v>29772</c:v>
                </c:pt>
                <c:pt idx="124">
                  <c:v>29848</c:v>
                </c:pt>
                <c:pt idx="125">
                  <c:v>30383</c:v>
                </c:pt>
                <c:pt idx="126">
                  <c:v>30678</c:v>
                </c:pt>
                <c:pt idx="127">
                  <c:v>30953</c:v>
                </c:pt>
                <c:pt idx="128">
                  <c:v>31284</c:v>
                </c:pt>
                <c:pt idx="129">
                  <c:v>31589</c:v>
                </c:pt>
                <c:pt idx="130">
                  <c:v>31698</c:v>
                </c:pt>
                <c:pt idx="131">
                  <c:v>31752</c:v>
                </c:pt>
                <c:pt idx="132">
                  <c:v>32217</c:v>
                </c:pt>
                <c:pt idx="133">
                  <c:v>32438</c:v>
                </c:pt>
                <c:pt idx="134">
                  <c:v>32718</c:v>
                </c:pt>
                <c:pt idx="135">
                  <c:v>32868</c:v>
                </c:pt>
                <c:pt idx="136">
                  <c:v>33017</c:v>
                </c:pt>
                <c:pt idx="137">
                  <c:v>33083</c:v>
                </c:pt>
                <c:pt idx="138">
                  <c:v>33154</c:v>
                </c:pt>
                <c:pt idx="139">
                  <c:v>33438</c:v>
                </c:pt>
                <c:pt idx="140">
                  <c:v>33590</c:v>
                </c:pt>
                <c:pt idx="141">
                  <c:v>33807</c:v>
                </c:pt>
                <c:pt idx="142">
                  <c:v>33972</c:v>
                </c:pt>
                <c:pt idx="143">
                  <c:v>34164</c:v>
                </c:pt>
                <c:pt idx="144">
                  <c:v>34243</c:v>
                </c:pt>
                <c:pt idx="145">
                  <c:v>34278</c:v>
                </c:pt>
                <c:pt idx="146">
                  <c:v>34452</c:v>
                </c:pt>
                <c:pt idx="147">
                  <c:v>34569</c:v>
                </c:pt>
                <c:pt idx="148">
                  <c:v>34723</c:v>
                </c:pt>
                <c:pt idx="149">
                  <c:v>34821</c:v>
                </c:pt>
                <c:pt idx="150">
                  <c:v>34904</c:v>
                </c:pt>
                <c:pt idx="151">
                  <c:v>34982</c:v>
                </c:pt>
                <c:pt idx="152">
                  <c:v>35000</c:v>
                </c:pt>
                <c:pt idx="153">
                  <c:v>35183</c:v>
                </c:pt>
                <c:pt idx="154">
                  <c:v>35345</c:v>
                </c:pt>
                <c:pt idx="155">
                  <c:v>35503</c:v>
                </c:pt>
                <c:pt idx="156">
                  <c:v>35626</c:v>
                </c:pt>
                <c:pt idx="157">
                  <c:v>35756</c:v>
                </c:pt>
                <c:pt idx="158">
                  <c:v>35808</c:v>
                </c:pt>
                <c:pt idx="159">
                  <c:v>35841</c:v>
                </c:pt>
                <c:pt idx="160">
                  <c:v>35973</c:v>
                </c:pt>
                <c:pt idx="161">
                  <c:v>36060</c:v>
                </c:pt>
                <c:pt idx="162">
                  <c:v>36160</c:v>
                </c:pt>
                <c:pt idx="163">
                  <c:v>36263</c:v>
                </c:pt>
                <c:pt idx="164">
                  <c:v>36354</c:v>
                </c:pt>
                <c:pt idx="165">
                  <c:v>36377</c:v>
                </c:pt>
                <c:pt idx="166">
                  <c:v>36400</c:v>
                </c:pt>
                <c:pt idx="167">
                  <c:v>36499</c:v>
                </c:pt>
                <c:pt idx="168">
                  <c:v>36550</c:v>
                </c:pt>
                <c:pt idx="169">
                  <c:v>36616</c:v>
                </c:pt>
                <c:pt idx="170">
                  <c:v>36672</c:v>
                </c:pt>
                <c:pt idx="171">
                  <c:v>36732</c:v>
                </c:pt>
                <c:pt idx="172">
                  <c:v>36756</c:v>
                </c:pt>
                <c:pt idx="173">
                  <c:v>36779</c:v>
                </c:pt>
                <c:pt idx="174">
                  <c:v>36940</c:v>
                </c:pt>
                <c:pt idx="175">
                  <c:v>37019</c:v>
                </c:pt>
                <c:pt idx="176">
                  <c:v>37087</c:v>
                </c:pt>
                <c:pt idx="177">
                  <c:v>37164</c:v>
                </c:pt>
                <c:pt idx="178">
                  <c:v>37248</c:v>
                </c:pt>
                <c:pt idx="179">
                  <c:v>37266</c:v>
                </c:pt>
                <c:pt idx="180">
                  <c:v>37278</c:v>
                </c:pt>
                <c:pt idx="181">
                  <c:v>37412</c:v>
                </c:pt>
                <c:pt idx="182">
                  <c:v>37478</c:v>
                </c:pt>
                <c:pt idx="183">
                  <c:v>37579</c:v>
                </c:pt>
                <c:pt idx="184">
                  <c:v>37625</c:v>
                </c:pt>
                <c:pt idx="185">
                  <c:v>37675</c:v>
                </c:pt>
                <c:pt idx="186">
                  <c:v>37694</c:v>
                </c:pt>
                <c:pt idx="187">
                  <c:v>37708</c:v>
                </c:pt>
                <c:pt idx="188">
                  <c:v>37794</c:v>
                </c:pt>
                <c:pt idx="189">
                  <c:v>37903</c:v>
                </c:pt>
                <c:pt idx="190">
                  <c:v>37987</c:v>
                </c:pt>
                <c:pt idx="191">
                  <c:v>38025</c:v>
                </c:pt>
                <c:pt idx="192">
                  <c:v>38068</c:v>
                </c:pt>
                <c:pt idx="193">
                  <c:v>38088</c:v>
                </c:pt>
                <c:pt idx="194">
                  <c:v>38101</c:v>
                </c:pt>
                <c:pt idx="195">
                  <c:v>38162</c:v>
                </c:pt>
                <c:pt idx="196">
                  <c:v>38205</c:v>
                </c:pt>
                <c:pt idx="197">
                  <c:v>38235</c:v>
                </c:pt>
                <c:pt idx="198">
                  <c:v>38288</c:v>
                </c:pt>
                <c:pt idx="199">
                  <c:v>38326</c:v>
                </c:pt>
                <c:pt idx="200">
                  <c:v>38336</c:v>
                </c:pt>
                <c:pt idx="201">
                  <c:v>38344</c:v>
                </c:pt>
                <c:pt idx="202">
                  <c:v>38386</c:v>
                </c:pt>
                <c:pt idx="203">
                  <c:v>38433</c:v>
                </c:pt>
                <c:pt idx="204">
                  <c:v>38462</c:v>
                </c:pt>
                <c:pt idx="205">
                  <c:v>38501</c:v>
                </c:pt>
                <c:pt idx="206">
                  <c:v>38523</c:v>
                </c:pt>
                <c:pt idx="207">
                  <c:v>38529</c:v>
                </c:pt>
                <c:pt idx="208">
                  <c:v>38534</c:v>
                </c:pt>
                <c:pt idx="209">
                  <c:v>38573</c:v>
                </c:pt>
                <c:pt idx="210">
                  <c:v>38596</c:v>
                </c:pt>
                <c:pt idx="211">
                  <c:v>38618</c:v>
                </c:pt>
                <c:pt idx="212">
                  <c:v>38638</c:v>
                </c:pt>
                <c:pt idx="213">
                  <c:v>38644</c:v>
                </c:pt>
                <c:pt idx="214">
                  <c:v>38650</c:v>
                </c:pt>
                <c:pt idx="215">
                  <c:v>38654</c:v>
                </c:pt>
                <c:pt idx="216">
                  <c:v>38660</c:v>
                </c:pt>
                <c:pt idx="217">
                  <c:v>38685</c:v>
                </c:pt>
                <c:pt idx="218">
                  <c:v>38719</c:v>
                </c:pt>
                <c:pt idx="219">
                  <c:v>38736</c:v>
                </c:pt>
                <c:pt idx="220">
                  <c:v>38747</c:v>
                </c:pt>
                <c:pt idx="221">
                  <c:v>38752</c:v>
                </c:pt>
                <c:pt idx="222">
                  <c:v>38753</c:v>
                </c:pt>
                <c:pt idx="223">
                  <c:v>38761</c:v>
                </c:pt>
                <c:pt idx="224">
                  <c:v>38769</c:v>
                </c:pt>
                <c:pt idx="225">
                  <c:v>38774</c:v>
                </c:pt>
                <c:pt idx="226">
                  <c:v>38783</c:v>
                </c:pt>
                <c:pt idx="227">
                  <c:v>38790</c:v>
                </c:pt>
                <c:pt idx="228">
                  <c:v>38792</c:v>
                </c:pt>
                <c:pt idx="229">
                  <c:v>38794</c:v>
                </c:pt>
                <c:pt idx="230">
                  <c:v>38809</c:v>
                </c:pt>
                <c:pt idx="231">
                  <c:v>38816</c:v>
                </c:pt>
                <c:pt idx="232">
                  <c:v>38822</c:v>
                </c:pt>
                <c:pt idx="233">
                  <c:v>38835</c:v>
                </c:pt>
                <c:pt idx="234">
                  <c:v>38842</c:v>
                </c:pt>
                <c:pt idx="235">
                  <c:v>38844</c:v>
                </c:pt>
                <c:pt idx="236">
                  <c:v>38844</c:v>
                </c:pt>
                <c:pt idx="237">
                  <c:v>38851</c:v>
                </c:pt>
                <c:pt idx="238">
                  <c:v>38860</c:v>
                </c:pt>
                <c:pt idx="239">
                  <c:v>38863</c:v>
                </c:pt>
                <c:pt idx="240">
                  <c:v>38867</c:v>
                </c:pt>
                <c:pt idx="241">
                  <c:v>38872</c:v>
                </c:pt>
                <c:pt idx="242">
                  <c:v>38872</c:v>
                </c:pt>
                <c:pt idx="243">
                  <c:v>38873</c:v>
                </c:pt>
                <c:pt idx="244">
                  <c:v>38875</c:v>
                </c:pt>
                <c:pt idx="245">
                  <c:v>38877</c:v>
                </c:pt>
                <c:pt idx="246">
                  <c:v>38880</c:v>
                </c:pt>
                <c:pt idx="247">
                  <c:v>38885</c:v>
                </c:pt>
                <c:pt idx="248">
                  <c:v>38888</c:v>
                </c:pt>
                <c:pt idx="249">
                  <c:v>38889</c:v>
                </c:pt>
                <c:pt idx="250">
                  <c:v>38892</c:v>
                </c:pt>
                <c:pt idx="251">
                  <c:v>38898</c:v>
                </c:pt>
                <c:pt idx="252">
                  <c:v>38904</c:v>
                </c:pt>
                <c:pt idx="253">
                  <c:v>38904</c:v>
                </c:pt>
                <c:pt idx="254">
                  <c:v>38908</c:v>
                </c:pt>
                <c:pt idx="255">
                  <c:v>38912</c:v>
                </c:pt>
                <c:pt idx="256">
                  <c:v>38913</c:v>
                </c:pt>
                <c:pt idx="257">
                  <c:v>38913</c:v>
                </c:pt>
                <c:pt idx="258">
                  <c:v>38920</c:v>
                </c:pt>
                <c:pt idx="259">
                  <c:v>38924</c:v>
                </c:pt>
                <c:pt idx="260">
                  <c:v>38927</c:v>
                </c:pt>
                <c:pt idx="261">
                  <c:v>38930</c:v>
                </c:pt>
                <c:pt idx="262">
                  <c:v>38930</c:v>
                </c:pt>
                <c:pt idx="263">
                  <c:v>38930</c:v>
                </c:pt>
                <c:pt idx="264">
                  <c:v>38930</c:v>
                </c:pt>
                <c:pt idx="265">
                  <c:v>38934</c:v>
                </c:pt>
                <c:pt idx="266">
                  <c:v>38935</c:v>
                </c:pt>
                <c:pt idx="267">
                  <c:v>38936</c:v>
                </c:pt>
                <c:pt idx="268">
                  <c:v>38937</c:v>
                </c:pt>
                <c:pt idx="269">
                  <c:v>38937</c:v>
                </c:pt>
                <c:pt idx="270">
                  <c:v>38937</c:v>
                </c:pt>
                <c:pt idx="271">
                  <c:v>38937</c:v>
                </c:pt>
                <c:pt idx="272">
                  <c:v>38937</c:v>
                </c:pt>
                <c:pt idx="273">
                  <c:v>38937</c:v>
                </c:pt>
                <c:pt idx="274">
                  <c:v>38940</c:v>
                </c:pt>
                <c:pt idx="275">
                  <c:v>38942</c:v>
                </c:pt>
                <c:pt idx="276">
                  <c:v>38942</c:v>
                </c:pt>
                <c:pt idx="277">
                  <c:v>38942</c:v>
                </c:pt>
                <c:pt idx="278">
                  <c:v>38942</c:v>
                </c:pt>
                <c:pt idx="279">
                  <c:v>38942</c:v>
                </c:pt>
                <c:pt idx="280">
                  <c:v>38942</c:v>
                </c:pt>
                <c:pt idx="281">
                  <c:v>38942</c:v>
                </c:pt>
                <c:pt idx="282">
                  <c:v>38942</c:v>
                </c:pt>
                <c:pt idx="283">
                  <c:v>38943</c:v>
                </c:pt>
                <c:pt idx="284">
                  <c:v>38943</c:v>
                </c:pt>
                <c:pt idx="285">
                  <c:v>38943</c:v>
                </c:pt>
                <c:pt idx="286">
                  <c:v>38943</c:v>
                </c:pt>
                <c:pt idx="287">
                  <c:v>38943</c:v>
                </c:pt>
                <c:pt idx="288">
                  <c:v>38943</c:v>
                </c:pt>
                <c:pt idx="289">
                  <c:v>38944</c:v>
                </c:pt>
                <c:pt idx="290">
                  <c:v>38944</c:v>
                </c:pt>
                <c:pt idx="291">
                  <c:v>38944</c:v>
                </c:pt>
                <c:pt idx="292">
                  <c:v>38944</c:v>
                </c:pt>
                <c:pt idx="293">
                  <c:v>38944</c:v>
                </c:pt>
                <c:pt idx="294">
                  <c:v>38944</c:v>
                </c:pt>
                <c:pt idx="295">
                  <c:v>38945</c:v>
                </c:pt>
                <c:pt idx="296">
                  <c:v>38946</c:v>
                </c:pt>
                <c:pt idx="297">
                  <c:v>38946</c:v>
                </c:pt>
                <c:pt idx="298">
                  <c:v>38946</c:v>
                </c:pt>
                <c:pt idx="299">
                  <c:v>38946</c:v>
                </c:pt>
                <c:pt idx="300">
                  <c:v>38946</c:v>
                </c:pt>
                <c:pt idx="301">
                  <c:v>38946</c:v>
                </c:pt>
                <c:pt idx="302">
                  <c:v>38947</c:v>
                </c:pt>
                <c:pt idx="303">
                  <c:v>38948</c:v>
                </c:pt>
                <c:pt idx="304">
                  <c:v>38948</c:v>
                </c:pt>
                <c:pt idx="305">
                  <c:v>38948</c:v>
                </c:pt>
                <c:pt idx="306">
                  <c:v>38949</c:v>
                </c:pt>
                <c:pt idx="307">
                  <c:v>38949</c:v>
                </c:pt>
                <c:pt idx="308">
                  <c:v>38949</c:v>
                </c:pt>
                <c:pt idx="309">
                  <c:v>38949</c:v>
                </c:pt>
                <c:pt idx="310">
                  <c:v>38950</c:v>
                </c:pt>
                <c:pt idx="311">
                  <c:v>38950</c:v>
                </c:pt>
                <c:pt idx="312">
                  <c:v>38950</c:v>
                </c:pt>
                <c:pt idx="313">
                  <c:v>38951</c:v>
                </c:pt>
                <c:pt idx="314">
                  <c:v>38951</c:v>
                </c:pt>
                <c:pt idx="315">
                  <c:v>38951</c:v>
                </c:pt>
                <c:pt idx="316">
                  <c:v>38951</c:v>
                </c:pt>
                <c:pt idx="317">
                  <c:v>38951</c:v>
                </c:pt>
                <c:pt idx="318">
                  <c:v>38951</c:v>
                </c:pt>
                <c:pt idx="319">
                  <c:v>38951</c:v>
                </c:pt>
                <c:pt idx="320">
                  <c:v>38951</c:v>
                </c:pt>
                <c:pt idx="321">
                  <c:v>38951</c:v>
                </c:pt>
                <c:pt idx="322">
                  <c:v>38951</c:v>
                </c:pt>
                <c:pt idx="323">
                  <c:v>38952</c:v>
                </c:pt>
                <c:pt idx="324">
                  <c:v>38952</c:v>
                </c:pt>
                <c:pt idx="325">
                  <c:v>38952</c:v>
                </c:pt>
                <c:pt idx="326">
                  <c:v>38953</c:v>
                </c:pt>
                <c:pt idx="327">
                  <c:v>38953</c:v>
                </c:pt>
                <c:pt idx="328">
                  <c:v>38953</c:v>
                </c:pt>
                <c:pt idx="329">
                  <c:v>38954</c:v>
                </c:pt>
                <c:pt idx="330">
                  <c:v>38956</c:v>
                </c:pt>
                <c:pt idx="331">
                  <c:v>38956</c:v>
                </c:pt>
                <c:pt idx="332">
                  <c:v>38956</c:v>
                </c:pt>
                <c:pt idx="333">
                  <c:v>38956</c:v>
                </c:pt>
                <c:pt idx="334">
                  <c:v>38956</c:v>
                </c:pt>
                <c:pt idx="335">
                  <c:v>38956</c:v>
                </c:pt>
                <c:pt idx="336">
                  <c:v>38956</c:v>
                </c:pt>
                <c:pt idx="337">
                  <c:v>38956</c:v>
                </c:pt>
                <c:pt idx="338">
                  <c:v>38956</c:v>
                </c:pt>
                <c:pt idx="339">
                  <c:v>38956</c:v>
                </c:pt>
                <c:pt idx="340">
                  <c:v>38956</c:v>
                </c:pt>
                <c:pt idx="341">
                  <c:v>38957</c:v>
                </c:pt>
                <c:pt idx="342">
                  <c:v>38957</c:v>
                </c:pt>
                <c:pt idx="343">
                  <c:v>38957</c:v>
                </c:pt>
                <c:pt idx="344">
                  <c:v>38958</c:v>
                </c:pt>
                <c:pt idx="345">
                  <c:v>38958</c:v>
                </c:pt>
                <c:pt idx="346">
                  <c:v>38958</c:v>
                </c:pt>
                <c:pt idx="347">
                  <c:v>38958</c:v>
                </c:pt>
                <c:pt idx="348">
                  <c:v>38958</c:v>
                </c:pt>
                <c:pt idx="349">
                  <c:v>38959</c:v>
                </c:pt>
                <c:pt idx="350">
                  <c:v>38960</c:v>
                </c:pt>
                <c:pt idx="351">
                  <c:v>38960</c:v>
                </c:pt>
                <c:pt idx="352">
                  <c:v>38961</c:v>
                </c:pt>
                <c:pt idx="353">
                  <c:v>38961</c:v>
                </c:pt>
                <c:pt idx="354">
                  <c:v>38961</c:v>
                </c:pt>
                <c:pt idx="355">
                  <c:v>38961</c:v>
                </c:pt>
                <c:pt idx="356">
                  <c:v>38964</c:v>
                </c:pt>
                <c:pt idx="357">
                  <c:v>38964</c:v>
                </c:pt>
                <c:pt idx="358">
                  <c:v>38964</c:v>
                </c:pt>
                <c:pt idx="359">
                  <c:v>38965</c:v>
                </c:pt>
                <c:pt idx="360">
                  <c:v>38966</c:v>
                </c:pt>
                <c:pt idx="361">
                  <c:v>38967</c:v>
                </c:pt>
                <c:pt idx="362">
                  <c:v>38967</c:v>
                </c:pt>
                <c:pt idx="363">
                  <c:v>38967</c:v>
                </c:pt>
                <c:pt idx="364">
                  <c:v>38967</c:v>
                </c:pt>
                <c:pt idx="365">
                  <c:v>38970</c:v>
                </c:pt>
                <c:pt idx="366">
                  <c:v>38975</c:v>
                </c:pt>
                <c:pt idx="367">
                  <c:v>38978</c:v>
                </c:pt>
                <c:pt idx="368">
                  <c:v>38979</c:v>
                </c:pt>
                <c:pt idx="369">
                  <c:v>38979</c:v>
                </c:pt>
                <c:pt idx="370">
                  <c:v>38984</c:v>
                </c:pt>
                <c:pt idx="371">
                  <c:v>38986</c:v>
                </c:pt>
                <c:pt idx="372">
                  <c:v>38987</c:v>
                </c:pt>
                <c:pt idx="373">
                  <c:v>38989</c:v>
                </c:pt>
                <c:pt idx="374">
                  <c:v>38989</c:v>
                </c:pt>
                <c:pt idx="375">
                  <c:v>38989</c:v>
                </c:pt>
                <c:pt idx="376">
                  <c:v>38990</c:v>
                </c:pt>
                <c:pt idx="377">
                  <c:v>38991</c:v>
                </c:pt>
                <c:pt idx="378">
                  <c:v>38992</c:v>
                </c:pt>
                <c:pt idx="379">
                  <c:v>38992</c:v>
                </c:pt>
                <c:pt idx="380">
                  <c:v>38992</c:v>
                </c:pt>
                <c:pt idx="381">
                  <c:v>38992</c:v>
                </c:pt>
                <c:pt idx="382">
                  <c:v>38993</c:v>
                </c:pt>
                <c:pt idx="383">
                  <c:v>38993</c:v>
                </c:pt>
                <c:pt idx="384">
                  <c:v>38998</c:v>
                </c:pt>
                <c:pt idx="385">
                  <c:v>39004</c:v>
                </c:pt>
                <c:pt idx="386">
                  <c:v>39007</c:v>
                </c:pt>
                <c:pt idx="387">
                  <c:v>39007</c:v>
                </c:pt>
                <c:pt idx="388">
                  <c:v>39007</c:v>
                </c:pt>
                <c:pt idx="389">
                  <c:v>39008</c:v>
                </c:pt>
                <c:pt idx="390">
                  <c:v>39008</c:v>
                </c:pt>
                <c:pt idx="391">
                  <c:v>39015</c:v>
                </c:pt>
                <c:pt idx="392">
                  <c:v>39017</c:v>
                </c:pt>
                <c:pt idx="393">
                  <c:v>39025</c:v>
                </c:pt>
                <c:pt idx="394">
                  <c:v>39028</c:v>
                </c:pt>
                <c:pt idx="395">
                  <c:v>39031</c:v>
                </c:pt>
                <c:pt idx="396">
                  <c:v>39032</c:v>
                </c:pt>
                <c:pt idx="397">
                  <c:v>39033</c:v>
                </c:pt>
                <c:pt idx="398">
                  <c:v>39038</c:v>
                </c:pt>
                <c:pt idx="399">
                  <c:v>39045</c:v>
                </c:pt>
                <c:pt idx="400">
                  <c:v>39058</c:v>
                </c:pt>
                <c:pt idx="401">
                  <c:v>39061</c:v>
                </c:pt>
                <c:pt idx="402">
                  <c:v>39088</c:v>
                </c:pt>
                <c:pt idx="403">
                  <c:v>39090</c:v>
                </c:pt>
                <c:pt idx="404">
                  <c:v>39090</c:v>
                </c:pt>
                <c:pt idx="405">
                  <c:v>39093</c:v>
                </c:pt>
                <c:pt idx="406">
                  <c:v>39096</c:v>
                </c:pt>
                <c:pt idx="407">
                  <c:v>39117</c:v>
                </c:pt>
                <c:pt idx="408">
                  <c:v>39123</c:v>
                </c:pt>
                <c:pt idx="409">
                  <c:v>39131</c:v>
                </c:pt>
                <c:pt idx="410">
                  <c:v>39133</c:v>
                </c:pt>
                <c:pt idx="411">
                  <c:v>39134</c:v>
                </c:pt>
                <c:pt idx="412">
                  <c:v>39152</c:v>
                </c:pt>
                <c:pt idx="413">
                  <c:v>39163</c:v>
                </c:pt>
                <c:pt idx="414">
                  <c:v>39176</c:v>
                </c:pt>
                <c:pt idx="415">
                  <c:v>39185</c:v>
                </c:pt>
                <c:pt idx="416">
                  <c:v>39200</c:v>
                </c:pt>
                <c:pt idx="417">
                  <c:v>39201</c:v>
                </c:pt>
                <c:pt idx="418">
                  <c:v>39205</c:v>
                </c:pt>
                <c:pt idx="419">
                  <c:v>39236</c:v>
                </c:pt>
                <c:pt idx="420">
                  <c:v>39250</c:v>
                </c:pt>
                <c:pt idx="421">
                  <c:v>39275</c:v>
                </c:pt>
                <c:pt idx="422">
                  <c:v>39278</c:v>
                </c:pt>
                <c:pt idx="423">
                  <c:v>39304</c:v>
                </c:pt>
                <c:pt idx="424">
                  <c:v>39316</c:v>
                </c:pt>
                <c:pt idx="425">
                  <c:v>39331</c:v>
                </c:pt>
                <c:pt idx="426">
                  <c:v>39405</c:v>
                </c:pt>
                <c:pt idx="427">
                  <c:v>39441</c:v>
                </c:pt>
                <c:pt idx="428">
                  <c:v>39476</c:v>
                </c:pt>
                <c:pt idx="429">
                  <c:v>39544</c:v>
                </c:pt>
                <c:pt idx="430">
                  <c:v>39591</c:v>
                </c:pt>
                <c:pt idx="431">
                  <c:v>39608</c:v>
                </c:pt>
                <c:pt idx="432">
                  <c:v>39617</c:v>
                </c:pt>
                <c:pt idx="433">
                  <c:v>39680</c:v>
                </c:pt>
                <c:pt idx="434">
                  <c:v>39730</c:v>
                </c:pt>
                <c:pt idx="435">
                  <c:v>39784</c:v>
                </c:pt>
                <c:pt idx="436">
                  <c:v>39840</c:v>
                </c:pt>
                <c:pt idx="437">
                  <c:v>39889</c:v>
                </c:pt>
                <c:pt idx="438">
                  <c:v>39926</c:v>
                </c:pt>
                <c:pt idx="439">
                  <c:v>39946</c:v>
                </c:pt>
                <c:pt idx="440">
                  <c:v>40026</c:v>
                </c:pt>
                <c:pt idx="441">
                  <c:v>40103</c:v>
                </c:pt>
                <c:pt idx="442">
                  <c:v>40152</c:v>
                </c:pt>
                <c:pt idx="443">
                  <c:v>40250</c:v>
                </c:pt>
                <c:pt idx="444">
                  <c:v>40421</c:v>
                </c:pt>
                <c:pt idx="445">
                  <c:v>40467</c:v>
                </c:pt>
                <c:pt idx="446">
                  <c:v>40488</c:v>
                </c:pt>
                <c:pt idx="447">
                  <c:v>40574</c:v>
                </c:pt>
                <c:pt idx="448">
                  <c:v>40646</c:v>
                </c:pt>
                <c:pt idx="449">
                  <c:v>40714</c:v>
                </c:pt>
                <c:pt idx="450">
                  <c:v>407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C3-4558-95C0-65D81E5CAF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evale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lient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List1!$B$2:$B$452</c:f>
              <c:numCache>
                <c:formatCode>General</c:formatCode>
                <c:ptCount val="45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9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4</c:v>
                </c:pt>
                <c:pt idx="24">
                  <c:v>2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11</c:v>
                </c:pt>
                <c:pt idx="29">
                  <c:v>38</c:v>
                </c:pt>
                <c:pt idx="30">
                  <c:v>66</c:v>
                </c:pt>
                <c:pt idx="31">
                  <c:v>119</c:v>
                </c:pt>
                <c:pt idx="32">
                  <c:v>154</c:v>
                </c:pt>
                <c:pt idx="33">
                  <c:v>206</c:v>
                </c:pt>
                <c:pt idx="34">
                  <c:v>355</c:v>
                </c:pt>
                <c:pt idx="35">
                  <c:v>427</c:v>
                </c:pt>
                <c:pt idx="36">
                  <c:v>465</c:v>
                </c:pt>
                <c:pt idx="37">
                  <c:v>533</c:v>
                </c:pt>
                <c:pt idx="38">
                  <c:v>665</c:v>
                </c:pt>
                <c:pt idx="39">
                  <c:v>685</c:v>
                </c:pt>
                <c:pt idx="40">
                  <c:v>652</c:v>
                </c:pt>
                <c:pt idx="41">
                  <c:v>765</c:v>
                </c:pt>
                <c:pt idx="42">
                  <c:v>935</c:v>
                </c:pt>
                <c:pt idx="43">
                  <c:v>1065</c:v>
                </c:pt>
                <c:pt idx="44">
                  <c:v>1230</c:v>
                </c:pt>
                <c:pt idx="45">
                  <c:v>1358</c:v>
                </c:pt>
                <c:pt idx="46">
                  <c:v>1435</c:v>
                </c:pt>
                <c:pt idx="47">
                  <c:v>1389</c:v>
                </c:pt>
                <c:pt idx="48">
                  <c:v>1559</c:v>
                </c:pt>
                <c:pt idx="49">
                  <c:v>1669</c:v>
                </c:pt>
                <c:pt idx="50">
                  <c:v>1947</c:v>
                </c:pt>
                <c:pt idx="51">
                  <c:v>2103</c:v>
                </c:pt>
                <c:pt idx="52">
                  <c:v>2389</c:v>
                </c:pt>
                <c:pt idx="53">
                  <c:v>2471</c:v>
                </c:pt>
                <c:pt idx="54">
                  <c:v>2514</c:v>
                </c:pt>
                <c:pt idx="55">
                  <c:v>2694</c:v>
                </c:pt>
                <c:pt idx="56">
                  <c:v>3023</c:v>
                </c:pt>
                <c:pt idx="57">
                  <c:v>3048</c:v>
                </c:pt>
                <c:pt idx="58">
                  <c:v>3485</c:v>
                </c:pt>
                <c:pt idx="59">
                  <c:v>3782</c:v>
                </c:pt>
                <c:pt idx="60">
                  <c:v>3869</c:v>
                </c:pt>
                <c:pt idx="61">
                  <c:v>3764</c:v>
                </c:pt>
                <c:pt idx="62">
                  <c:v>3826</c:v>
                </c:pt>
                <c:pt idx="63">
                  <c:v>3754</c:v>
                </c:pt>
                <c:pt idx="64">
                  <c:v>3965</c:v>
                </c:pt>
                <c:pt idx="65">
                  <c:v>4294</c:v>
                </c:pt>
                <c:pt idx="66">
                  <c:v>4151</c:v>
                </c:pt>
                <c:pt idx="67">
                  <c:v>3802</c:v>
                </c:pt>
                <c:pt idx="68">
                  <c:v>3721</c:v>
                </c:pt>
                <c:pt idx="69">
                  <c:v>3474</c:v>
                </c:pt>
                <c:pt idx="70">
                  <c:v>3356</c:v>
                </c:pt>
                <c:pt idx="71">
                  <c:v>3774</c:v>
                </c:pt>
                <c:pt idx="72">
                  <c:v>4154</c:v>
                </c:pt>
                <c:pt idx="73">
                  <c:v>4201</c:v>
                </c:pt>
                <c:pt idx="74">
                  <c:v>3859</c:v>
                </c:pt>
                <c:pt idx="75">
                  <c:v>3746</c:v>
                </c:pt>
                <c:pt idx="76">
                  <c:v>3759</c:v>
                </c:pt>
                <c:pt idx="77">
                  <c:v>3545</c:v>
                </c:pt>
                <c:pt idx="78">
                  <c:v>3737</c:v>
                </c:pt>
                <c:pt idx="79">
                  <c:v>3887</c:v>
                </c:pt>
                <c:pt idx="80">
                  <c:v>3943</c:v>
                </c:pt>
                <c:pt idx="81">
                  <c:v>3563</c:v>
                </c:pt>
                <c:pt idx="82">
                  <c:v>3287</c:v>
                </c:pt>
                <c:pt idx="83">
                  <c:v>3412</c:v>
                </c:pt>
                <c:pt idx="84">
                  <c:v>3127</c:v>
                </c:pt>
                <c:pt idx="85">
                  <c:v>3120</c:v>
                </c:pt>
                <c:pt idx="86">
                  <c:v>3213</c:v>
                </c:pt>
                <c:pt idx="87">
                  <c:v>2977</c:v>
                </c:pt>
                <c:pt idx="88">
                  <c:v>2945</c:v>
                </c:pt>
                <c:pt idx="89">
                  <c:v>2685</c:v>
                </c:pt>
                <c:pt idx="90">
                  <c:v>2587</c:v>
                </c:pt>
                <c:pt idx="91">
                  <c:v>2400</c:v>
                </c:pt>
                <c:pt idx="92">
                  <c:v>2432</c:v>
                </c:pt>
                <c:pt idx="93">
                  <c:v>2492</c:v>
                </c:pt>
                <c:pt idx="94">
                  <c:v>2380</c:v>
                </c:pt>
                <c:pt idx="95">
                  <c:v>2214</c:v>
                </c:pt>
                <c:pt idx="96">
                  <c:v>2061</c:v>
                </c:pt>
                <c:pt idx="97">
                  <c:v>2013</c:v>
                </c:pt>
                <c:pt idx="98">
                  <c:v>1867</c:v>
                </c:pt>
                <c:pt idx="99">
                  <c:v>1922</c:v>
                </c:pt>
                <c:pt idx="100">
                  <c:v>1974</c:v>
                </c:pt>
                <c:pt idx="101">
                  <c:v>1961</c:v>
                </c:pt>
                <c:pt idx="102">
                  <c:v>1869</c:v>
                </c:pt>
                <c:pt idx="103">
                  <c:v>1823</c:v>
                </c:pt>
                <c:pt idx="104">
                  <c:v>1827</c:v>
                </c:pt>
                <c:pt idx="105">
                  <c:v>1809</c:v>
                </c:pt>
                <c:pt idx="106">
                  <c:v>1810</c:v>
                </c:pt>
                <c:pt idx="107">
                  <c:v>1814</c:v>
                </c:pt>
                <c:pt idx="108">
                  <c:v>1855</c:v>
                </c:pt>
                <c:pt idx="109">
                  <c:v>1726</c:v>
                </c:pt>
                <c:pt idx="110">
                  <c:v>1659</c:v>
                </c:pt>
                <c:pt idx="111">
                  <c:v>1706</c:v>
                </c:pt>
                <c:pt idx="112">
                  <c:v>1718</c:v>
                </c:pt>
                <c:pt idx="113">
                  <c:v>1741</c:v>
                </c:pt>
                <c:pt idx="114">
                  <c:v>1707</c:v>
                </c:pt>
                <c:pt idx="115">
                  <c:v>1604</c:v>
                </c:pt>
                <c:pt idx="116">
                  <c:v>1579</c:v>
                </c:pt>
                <c:pt idx="117">
                  <c:v>1578</c:v>
                </c:pt>
                <c:pt idx="118">
                  <c:v>1622</c:v>
                </c:pt>
                <c:pt idx="119">
                  <c:v>1669</c:v>
                </c:pt>
                <c:pt idx="120">
                  <c:v>1767</c:v>
                </c:pt>
                <c:pt idx="121">
                  <c:v>1849</c:v>
                </c:pt>
                <c:pt idx="122">
                  <c:v>1715</c:v>
                </c:pt>
                <c:pt idx="123">
                  <c:v>1681</c:v>
                </c:pt>
                <c:pt idx="124">
                  <c:v>1515</c:v>
                </c:pt>
                <c:pt idx="125">
                  <c:v>1746</c:v>
                </c:pt>
                <c:pt idx="126">
                  <c:v>1834</c:v>
                </c:pt>
                <c:pt idx="127">
                  <c:v>1926</c:v>
                </c:pt>
                <c:pt idx="128">
                  <c:v>2069</c:v>
                </c:pt>
                <c:pt idx="129">
                  <c:v>2070</c:v>
                </c:pt>
                <c:pt idx="130">
                  <c:v>1937</c:v>
                </c:pt>
                <c:pt idx="131">
                  <c:v>1790</c:v>
                </c:pt>
                <c:pt idx="132">
                  <c:v>1931</c:v>
                </c:pt>
                <c:pt idx="133">
                  <c:v>1995</c:v>
                </c:pt>
                <c:pt idx="134">
                  <c:v>2098</c:v>
                </c:pt>
                <c:pt idx="135">
                  <c:v>2144</c:v>
                </c:pt>
                <c:pt idx="136">
                  <c:v>2058</c:v>
                </c:pt>
                <c:pt idx="137">
                  <c:v>1863</c:v>
                </c:pt>
                <c:pt idx="138">
                  <c:v>1707</c:v>
                </c:pt>
                <c:pt idx="139">
                  <c:v>1646</c:v>
                </c:pt>
                <c:pt idx="140">
                  <c:v>1532</c:v>
                </c:pt>
                <c:pt idx="141">
                  <c:v>1616</c:v>
                </c:pt>
                <c:pt idx="142">
                  <c:v>1686</c:v>
                </c:pt>
                <c:pt idx="143">
                  <c:v>1556</c:v>
                </c:pt>
                <c:pt idx="144">
                  <c:v>1491</c:v>
                </c:pt>
                <c:pt idx="145">
                  <c:v>1390</c:v>
                </c:pt>
                <c:pt idx="146">
                  <c:v>1352</c:v>
                </c:pt>
                <c:pt idx="147">
                  <c:v>1297</c:v>
                </c:pt>
                <c:pt idx="148">
                  <c:v>1348</c:v>
                </c:pt>
                <c:pt idx="149">
                  <c:v>1384</c:v>
                </c:pt>
                <c:pt idx="150">
                  <c:v>1242</c:v>
                </c:pt>
                <c:pt idx="151">
                  <c:v>1200</c:v>
                </c:pt>
                <c:pt idx="152">
                  <c:v>1063</c:v>
                </c:pt>
                <c:pt idx="153">
                  <c:v>1090</c:v>
                </c:pt>
                <c:pt idx="154">
                  <c:v>1113</c:v>
                </c:pt>
                <c:pt idx="155">
                  <c:v>1168</c:v>
                </c:pt>
                <c:pt idx="156">
                  <c:v>1196</c:v>
                </c:pt>
                <c:pt idx="157">
                  <c:v>1168</c:v>
                </c:pt>
                <c:pt idx="158">
                  <c:v>1106</c:v>
                </c:pt>
                <c:pt idx="159">
                  <c:v>1052</c:v>
                </c:pt>
                <c:pt idx="160">
                  <c:v>1066</c:v>
                </c:pt>
                <c:pt idx="161">
                  <c:v>1061</c:v>
                </c:pt>
                <c:pt idx="162">
                  <c:v>1084</c:v>
                </c:pt>
                <c:pt idx="163">
                  <c:v>1130</c:v>
                </c:pt>
                <c:pt idx="164">
                  <c:v>1095</c:v>
                </c:pt>
                <c:pt idx="165">
                  <c:v>974</c:v>
                </c:pt>
                <c:pt idx="166">
                  <c:v>882</c:v>
                </c:pt>
                <c:pt idx="167">
                  <c:v>861</c:v>
                </c:pt>
                <c:pt idx="168">
                  <c:v>777</c:v>
                </c:pt>
                <c:pt idx="169">
                  <c:v>756</c:v>
                </c:pt>
                <c:pt idx="170">
                  <c:v>771</c:v>
                </c:pt>
                <c:pt idx="171">
                  <c:v>711</c:v>
                </c:pt>
                <c:pt idx="172">
                  <c:v>650</c:v>
                </c:pt>
                <c:pt idx="173">
                  <c:v>578</c:v>
                </c:pt>
                <c:pt idx="174">
                  <c:v>623</c:v>
                </c:pt>
                <c:pt idx="175">
                  <c:v>597</c:v>
                </c:pt>
                <c:pt idx="176">
                  <c:v>608</c:v>
                </c:pt>
                <c:pt idx="177">
                  <c:v>638</c:v>
                </c:pt>
                <c:pt idx="178">
                  <c:v>625</c:v>
                </c:pt>
                <c:pt idx="179">
                  <c:v>592</c:v>
                </c:pt>
                <c:pt idx="180">
                  <c:v>573</c:v>
                </c:pt>
                <c:pt idx="181">
                  <c:v>620</c:v>
                </c:pt>
                <c:pt idx="182">
                  <c:v>586</c:v>
                </c:pt>
                <c:pt idx="183">
                  <c:v>593</c:v>
                </c:pt>
                <c:pt idx="184">
                  <c:v>585</c:v>
                </c:pt>
                <c:pt idx="185">
                  <c:v>517</c:v>
                </c:pt>
                <c:pt idx="186">
                  <c:v>488</c:v>
                </c:pt>
                <c:pt idx="187">
                  <c:v>444</c:v>
                </c:pt>
                <c:pt idx="188">
                  <c:v>439</c:v>
                </c:pt>
                <c:pt idx="189">
                  <c:v>455</c:v>
                </c:pt>
                <c:pt idx="190">
                  <c:v>496</c:v>
                </c:pt>
                <c:pt idx="191">
                  <c:v>495</c:v>
                </c:pt>
                <c:pt idx="192">
                  <c:v>516</c:v>
                </c:pt>
                <c:pt idx="193">
                  <c:v>513</c:v>
                </c:pt>
                <c:pt idx="194">
                  <c:v>513</c:v>
                </c:pt>
                <c:pt idx="195">
                  <c:v>534</c:v>
                </c:pt>
                <c:pt idx="196">
                  <c:v>470</c:v>
                </c:pt>
                <c:pt idx="197">
                  <c:v>449</c:v>
                </c:pt>
                <c:pt idx="198">
                  <c:v>436</c:v>
                </c:pt>
                <c:pt idx="199">
                  <c:v>436</c:v>
                </c:pt>
                <c:pt idx="200">
                  <c:v>416</c:v>
                </c:pt>
                <c:pt idx="201">
                  <c:v>415</c:v>
                </c:pt>
                <c:pt idx="202">
                  <c:v>421</c:v>
                </c:pt>
                <c:pt idx="203">
                  <c:v>422</c:v>
                </c:pt>
                <c:pt idx="204">
                  <c:v>387</c:v>
                </c:pt>
                <c:pt idx="205">
                  <c:v>383</c:v>
                </c:pt>
                <c:pt idx="206">
                  <c:v>365</c:v>
                </c:pt>
                <c:pt idx="207">
                  <c:v>331</c:v>
                </c:pt>
                <c:pt idx="208">
                  <c:v>330</c:v>
                </c:pt>
                <c:pt idx="209">
                  <c:v>342</c:v>
                </c:pt>
                <c:pt idx="210">
                  <c:v>310</c:v>
                </c:pt>
                <c:pt idx="211">
                  <c:v>301</c:v>
                </c:pt>
                <c:pt idx="212">
                  <c:v>286</c:v>
                </c:pt>
                <c:pt idx="213">
                  <c:v>257</c:v>
                </c:pt>
                <c:pt idx="214">
                  <c:v>247</c:v>
                </c:pt>
                <c:pt idx="215">
                  <c:v>246</c:v>
                </c:pt>
                <c:pt idx="216">
                  <c:v>244</c:v>
                </c:pt>
                <c:pt idx="217">
                  <c:v>214</c:v>
                </c:pt>
                <c:pt idx="218">
                  <c:v>211</c:v>
                </c:pt>
                <c:pt idx="219">
                  <c:v>196</c:v>
                </c:pt>
                <c:pt idx="220">
                  <c:v>167</c:v>
                </c:pt>
                <c:pt idx="221">
                  <c:v>162</c:v>
                </c:pt>
                <c:pt idx="222">
                  <c:v>161</c:v>
                </c:pt>
                <c:pt idx="223">
                  <c:v>160</c:v>
                </c:pt>
                <c:pt idx="224">
                  <c:v>150</c:v>
                </c:pt>
                <c:pt idx="225">
                  <c:v>128</c:v>
                </c:pt>
                <c:pt idx="226">
                  <c:v>118</c:v>
                </c:pt>
                <c:pt idx="227">
                  <c:v>104</c:v>
                </c:pt>
                <c:pt idx="228">
                  <c:v>102</c:v>
                </c:pt>
                <c:pt idx="229">
                  <c:v>103</c:v>
                </c:pt>
                <c:pt idx="230">
                  <c:v>107</c:v>
                </c:pt>
                <c:pt idx="231">
                  <c:v>101</c:v>
                </c:pt>
                <c:pt idx="232">
                  <c:v>94</c:v>
                </c:pt>
                <c:pt idx="233">
                  <c:v>93</c:v>
                </c:pt>
                <c:pt idx="234">
                  <c:v>95</c:v>
                </c:pt>
                <c:pt idx="235">
                  <c:v>89</c:v>
                </c:pt>
                <c:pt idx="236">
                  <c:v>88</c:v>
                </c:pt>
                <c:pt idx="237">
                  <c:v>88</c:v>
                </c:pt>
                <c:pt idx="238">
                  <c:v>86</c:v>
                </c:pt>
                <c:pt idx="239">
                  <c:v>85</c:v>
                </c:pt>
                <c:pt idx="240">
                  <c:v>84</c:v>
                </c:pt>
                <c:pt idx="241">
                  <c:v>84</c:v>
                </c:pt>
                <c:pt idx="242">
                  <c:v>78</c:v>
                </c:pt>
                <c:pt idx="243">
                  <c:v>78</c:v>
                </c:pt>
                <c:pt idx="244">
                  <c:v>78</c:v>
                </c:pt>
                <c:pt idx="245">
                  <c:v>75</c:v>
                </c:pt>
                <c:pt idx="246">
                  <c:v>71</c:v>
                </c:pt>
                <c:pt idx="247">
                  <c:v>65</c:v>
                </c:pt>
                <c:pt idx="248">
                  <c:v>64</c:v>
                </c:pt>
                <c:pt idx="249">
                  <c:v>58</c:v>
                </c:pt>
                <c:pt idx="250">
                  <c:v>61</c:v>
                </c:pt>
                <c:pt idx="251">
                  <c:v>64</c:v>
                </c:pt>
                <c:pt idx="252">
                  <c:v>64</c:v>
                </c:pt>
                <c:pt idx="253">
                  <c:v>61</c:v>
                </c:pt>
                <c:pt idx="254">
                  <c:v>60</c:v>
                </c:pt>
                <c:pt idx="255">
                  <c:v>59</c:v>
                </c:pt>
                <c:pt idx="256">
                  <c:v>57</c:v>
                </c:pt>
                <c:pt idx="257">
                  <c:v>56</c:v>
                </c:pt>
                <c:pt idx="258">
                  <c:v>58</c:v>
                </c:pt>
                <c:pt idx="259">
                  <c:v>54</c:v>
                </c:pt>
                <c:pt idx="260">
                  <c:v>56</c:v>
                </c:pt>
                <c:pt idx="261">
                  <c:v>53</c:v>
                </c:pt>
                <c:pt idx="262">
                  <c:v>53</c:v>
                </c:pt>
                <c:pt idx="263">
                  <c:v>52</c:v>
                </c:pt>
                <c:pt idx="264">
                  <c:v>51</c:v>
                </c:pt>
                <c:pt idx="265">
                  <c:v>52</c:v>
                </c:pt>
                <c:pt idx="266">
                  <c:v>51</c:v>
                </c:pt>
                <c:pt idx="267">
                  <c:v>50</c:v>
                </c:pt>
                <c:pt idx="268">
                  <c:v>48</c:v>
                </c:pt>
                <c:pt idx="269">
                  <c:v>47</c:v>
                </c:pt>
                <c:pt idx="270">
                  <c:v>47</c:v>
                </c:pt>
                <c:pt idx="271">
                  <c:v>44</c:v>
                </c:pt>
                <c:pt idx="272">
                  <c:v>43</c:v>
                </c:pt>
                <c:pt idx="273">
                  <c:v>42</c:v>
                </c:pt>
                <c:pt idx="274">
                  <c:v>45</c:v>
                </c:pt>
                <c:pt idx="275">
                  <c:v>41</c:v>
                </c:pt>
                <c:pt idx="276">
                  <c:v>37</c:v>
                </c:pt>
                <c:pt idx="277">
                  <c:v>36</c:v>
                </c:pt>
                <c:pt idx="278">
                  <c:v>36</c:v>
                </c:pt>
                <c:pt idx="279">
                  <c:v>36</c:v>
                </c:pt>
                <c:pt idx="280">
                  <c:v>36</c:v>
                </c:pt>
                <c:pt idx="281">
                  <c:v>35</c:v>
                </c:pt>
                <c:pt idx="282">
                  <c:v>34</c:v>
                </c:pt>
                <c:pt idx="283">
                  <c:v>35</c:v>
                </c:pt>
                <c:pt idx="284">
                  <c:v>32</c:v>
                </c:pt>
                <c:pt idx="285">
                  <c:v>32</c:v>
                </c:pt>
                <c:pt idx="286">
                  <c:v>32</c:v>
                </c:pt>
                <c:pt idx="287">
                  <c:v>32</c:v>
                </c:pt>
                <c:pt idx="288">
                  <c:v>32</c:v>
                </c:pt>
                <c:pt idx="289">
                  <c:v>32</c:v>
                </c:pt>
                <c:pt idx="290">
                  <c:v>32</c:v>
                </c:pt>
                <c:pt idx="291">
                  <c:v>32</c:v>
                </c:pt>
                <c:pt idx="292">
                  <c:v>32</c:v>
                </c:pt>
                <c:pt idx="293">
                  <c:v>32</c:v>
                </c:pt>
                <c:pt idx="294">
                  <c:v>32</c:v>
                </c:pt>
                <c:pt idx="295">
                  <c:v>33</c:v>
                </c:pt>
                <c:pt idx="296">
                  <c:v>33</c:v>
                </c:pt>
                <c:pt idx="297">
                  <c:v>32</c:v>
                </c:pt>
                <c:pt idx="298">
                  <c:v>32</c:v>
                </c:pt>
                <c:pt idx="299">
                  <c:v>32</c:v>
                </c:pt>
                <c:pt idx="300">
                  <c:v>32</c:v>
                </c:pt>
                <c:pt idx="301">
                  <c:v>32</c:v>
                </c:pt>
                <c:pt idx="302">
                  <c:v>31</c:v>
                </c:pt>
                <c:pt idx="303">
                  <c:v>32</c:v>
                </c:pt>
                <c:pt idx="304">
                  <c:v>30</c:v>
                </c:pt>
                <c:pt idx="305">
                  <c:v>30</c:v>
                </c:pt>
                <c:pt idx="306">
                  <c:v>31</c:v>
                </c:pt>
                <c:pt idx="307">
                  <c:v>31</c:v>
                </c:pt>
                <c:pt idx="308">
                  <c:v>31</c:v>
                </c:pt>
                <c:pt idx="309">
                  <c:v>31</c:v>
                </c:pt>
                <c:pt idx="310">
                  <c:v>30</c:v>
                </c:pt>
                <c:pt idx="311">
                  <c:v>30</c:v>
                </c:pt>
                <c:pt idx="312">
                  <c:v>30</c:v>
                </c:pt>
                <c:pt idx="313">
                  <c:v>30</c:v>
                </c:pt>
                <c:pt idx="314">
                  <c:v>30</c:v>
                </c:pt>
                <c:pt idx="315">
                  <c:v>30</c:v>
                </c:pt>
                <c:pt idx="316">
                  <c:v>30</c:v>
                </c:pt>
                <c:pt idx="317">
                  <c:v>30</c:v>
                </c:pt>
                <c:pt idx="318">
                  <c:v>30</c:v>
                </c:pt>
                <c:pt idx="319">
                  <c:v>30</c:v>
                </c:pt>
                <c:pt idx="320">
                  <c:v>30</c:v>
                </c:pt>
                <c:pt idx="321">
                  <c:v>30</c:v>
                </c:pt>
                <c:pt idx="322">
                  <c:v>29</c:v>
                </c:pt>
                <c:pt idx="323">
                  <c:v>29</c:v>
                </c:pt>
                <c:pt idx="324">
                  <c:v>29</c:v>
                </c:pt>
                <c:pt idx="325">
                  <c:v>29</c:v>
                </c:pt>
                <c:pt idx="326">
                  <c:v>30</c:v>
                </c:pt>
                <c:pt idx="327">
                  <c:v>29</c:v>
                </c:pt>
                <c:pt idx="328">
                  <c:v>29</c:v>
                </c:pt>
                <c:pt idx="329">
                  <c:v>29</c:v>
                </c:pt>
                <c:pt idx="330">
                  <c:v>29</c:v>
                </c:pt>
                <c:pt idx="331">
                  <c:v>29</c:v>
                </c:pt>
                <c:pt idx="332">
                  <c:v>28</c:v>
                </c:pt>
                <c:pt idx="333">
                  <c:v>28</c:v>
                </c:pt>
                <c:pt idx="334">
                  <c:v>28</c:v>
                </c:pt>
                <c:pt idx="335">
                  <c:v>28</c:v>
                </c:pt>
                <c:pt idx="336">
                  <c:v>27</c:v>
                </c:pt>
                <c:pt idx="337">
                  <c:v>27</c:v>
                </c:pt>
                <c:pt idx="338">
                  <c:v>27</c:v>
                </c:pt>
                <c:pt idx="339">
                  <c:v>27</c:v>
                </c:pt>
                <c:pt idx="340">
                  <c:v>27</c:v>
                </c:pt>
                <c:pt idx="341">
                  <c:v>27</c:v>
                </c:pt>
                <c:pt idx="342">
                  <c:v>27</c:v>
                </c:pt>
                <c:pt idx="343">
                  <c:v>27</c:v>
                </c:pt>
                <c:pt idx="344">
                  <c:v>27</c:v>
                </c:pt>
                <c:pt idx="345">
                  <c:v>27</c:v>
                </c:pt>
                <c:pt idx="346">
                  <c:v>27</c:v>
                </c:pt>
                <c:pt idx="347">
                  <c:v>27</c:v>
                </c:pt>
                <c:pt idx="348">
                  <c:v>27</c:v>
                </c:pt>
                <c:pt idx="349">
                  <c:v>28</c:v>
                </c:pt>
                <c:pt idx="350">
                  <c:v>29</c:v>
                </c:pt>
                <c:pt idx="351">
                  <c:v>29</c:v>
                </c:pt>
                <c:pt idx="352">
                  <c:v>30</c:v>
                </c:pt>
                <c:pt idx="353">
                  <c:v>29</c:v>
                </c:pt>
                <c:pt idx="354">
                  <c:v>29</c:v>
                </c:pt>
                <c:pt idx="355">
                  <c:v>29</c:v>
                </c:pt>
                <c:pt idx="356">
                  <c:v>31</c:v>
                </c:pt>
                <c:pt idx="357">
                  <c:v>31</c:v>
                </c:pt>
                <c:pt idx="358">
                  <c:v>31</c:v>
                </c:pt>
                <c:pt idx="359">
                  <c:v>31</c:v>
                </c:pt>
                <c:pt idx="360">
                  <c:v>31</c:v>
                </c:pt>
                <c:pt idx="361">
                  <c:v>30</c:v>
                </c:pt>
                <c:pt idx="362">
                  <c:v>30</c:v>
                </c:pt>
                <c:pt idx="363">
                  <c:v>30</c:v>
                </c:pt>
                <c:pt idx="364">
                  <c:v>30</c:v>
                </c:pt>
                <c:pt idx="365">
                  <c:v>31</c:v>
                </c:pt>
                <c:pt idx="366">
                  <c:v>35</c:v>
                </c:pt>
                <c:pt idx="367">
                  <c:v>37</c:v>
                </c:pt>
                <c:pt idx="368">
                  <c:v>38</c:v>
                </c:pt>
                <c:pt idx="369">
                  <c:v>37</c:v>
                </c:pt>
                <c:pt idx="370">
                  <c:v>41</c:v>
                </c:pt>
                <c:pt idx="371">
                  <c:v>38</c:v>
                </c:pt>
                <c:pt idx="372">
                  <c:v>38</c:v>
                </c:pt>
                <c:pt idx="373">
                  <c:v>38</c:v>
                </c:pt>
                <c:pt idx="374">
                  <c:v>38</c:v>
                </c:pt>
                <c:pt idx="375">
                  <c:v>38</c:v>
                </c:pt>
                <c:pt idx="376">
                  <c:v>38</c:v>
                </c:pt>
                <c:pt idx="377">
                  <c:v>39</c:v>
                </c:pt>
                <c:pt idx="378">
                  <c:v>39</c:v>
                </c:pt>
                <c:pt idx="379">
                  <c:v>39</c:v>
                </c:pt>
                <c:pt idx="380">
                  <c:v>38</c:v>
                </c:pt>
                <c:pt idx="381">
                  <c:v>36</c:v>
                </c:pt>
                <c:pt idx="382">
                  <c:v>36</c:v>
                </c:pt>
                <c:pt idx="383">
                  <c:v>36</c:v>
                </c:pt>
                <c:pt idx="384">
                  <c:v>37</c:v>
                </c:pt>
                <c:pt idx="385">
                  <c:v>33</c:v>
                </c:pt>
                <c:pt idx="386">
                  <c:v>34</c:v>
                </c:pt>
                <c:pt idx="387">
                  <c:v>32</c:v>
                </c:pt>
                <c:pt idx="388">
                  <c:v>32</c:v>
                </c:pt>
                <c:pt idx="389">
                  <c:v>32</c:v>
                </c:pt>
                <c:pt idx="390">
                  <c:v>32</c:v>
                </c:pt>
                <c:pt idx="391">
                  <c:v>34</c:v>
                </c:pt>
                <c:pt idx="392">
                  <c:v>32</c:v>
                </c:pt>
                <c:pt idx="393">
                  <c:v>33</c:v>
                </c:pt>
                <c:pt idx="394">
                  <c:v>33</c:v>
                </c:pt>
                <c:pt idx="395">
                  <c:v>34</c:v>
                </c:pt>
                <c:pt idx="396">
                  <c:v>35</c:v>
                </c:pt>
                <c:pt idx="397">
                  <c:v>36</c:v>
                </c:pt>
                <c:pt idx="398">
                  <c:v>38</c:v>
                </c:pt>
                <c:pt idx="399">
                  <c:v>40</c:v>
                </c:pt>
                <c:pt idx="400">
                  <c:v>48</c:v>
                </c:pt>
                <c:pt idx="401">
                  <c:v>47</c:v>
                </c:pt>
                <c:pt idx="402">
                  <c:v>72</c:v>
                </c:pt>
                <c:pt idx="403">
                  <c:v>72</c:v>
                </c:pt>
                <c:pt idx="404">
                  <c:v>72</c:v>
                </c:pt>
                <c:pt idx="405">
                  <c:v>73</c:v>
                </c:pt>
                <c:pt idx="406">
                  <c:v>73</c:v>
                </c:pt>
                <c:pt idx="407">
                  <c:v>92</c:v>
                </c:pt>
                <c:pt idx="408">
                  <c:v>94</c:v>
                </c:pt>
                <c:pt idx="409">
                  <c:v>94</c:v>
                </c:pt>
                <c:pt idx="410">
                  <c:v>94</c:v>
                </c:pt>
                <c:pt idx="411">
                  <c:v>93</c:v>
                </c:pt>
                <c:pt idx="412">
                  <c:v>97</c:v>
                </c:pt>
                <c:pt idx="413">
                  <c:v>97</c:v>
                </c:pt>
                <c:pt idx="414">
                  <c:v>92</c:v>
                </c:pt>
                <c:pt idx="415">
                  <c:v>92</c:v>
                </c:pt>
                <c:pt idx="416">
                  <c:v>75</c:v>
                </c:pt>
                <c:pt idx="417">
                  <c:v>74</c:v>
                </c:pt>
                <c:pt idx="418">
                  <c:v>72</c:v>
                </c:pt>
                <c:pt idx="419">
                  <c:v>85</c:v>
                </c:pt>
                <c:pt idx="420">
                  <c:v>93</c:v>
                </c:pt>
                <c:pt idx="421">
                  <c:v>100</c:v>
                </c:pt>
                <c:pt idx="422">
                  <c:v>84</c:v>
                </c:pt>
                <c:pt idx="423">
                  <c:v>102</c:v>
                </c:pt>
                <c:pt idx="424">
                  <c:v>105</c:v>
                </c:pt>
                <c:pt idx="425">
                  <c:v>114</c:v>
                </c:pt>
                <c:pt idx="426">
                  <c:v>149</c:v>
                </c:pt>
                <c:pt idx="427">
                  <c:v>159</c:v>
                </c:pt>
                <c:pt idx="428">
                  <c:v>164</c:v>
                </c:pt>
                <c:pt idx="429">
                  <c:v>203</c:v>
                </c:pt>
                <c:pt idx="430">
                  <c:v>222</c:v>
                </c:pt>
                <c:pt idx="431">
                  <c:v>216</c:v>
                </c:pt>
                <c:pt idx="432">
                  <c:v>214</c:v>
                </c:pt>
                <c:pt idx="433">
                  <c:v>237</c:v>
                </c:pt>
                <c:pt idx="434">
                  <c:v>243</c:v>
                </c:pt>
                <c:pt idx="435">
                  <c:v>252</c:v>
                </c:pt>
                <c:pt idx="436">
                  <c:v>263</c:v>
                </c:pt>
                <c:pt idx="437">
                  <c:v>275</c:v>
                </c:pt>
                <c:pt idx="438">
                  <c:v>274</c:v>
                </c:pt>
                <c:pt idx="439">
                  <c:v>269</c:v>
                </c:pt>
                <c:pt idx="440">
                  <c:v>293</c:v>
                </c:pt>
                <c:pt idx="441">
                  <c:v>287</c:v>
                </c:pt>
                <c:pt idx="442">
                  <c:v>296</c:v>
                </c:pt>
                <c:pt idx="443">
                  <c:v>331</c:v>
                </c:pt>
                <c:pt idx="444">
                  <c:v>408</c:v>
                </c:pt>
                <c:pt idx="445">
                  <c:v>402</c:v>
                </c:pt>
                <c:pt idx="446">
                  <c:v>405</c:v>
                </c:pt>
                <c:pt idx="447">
                  <c:v>435</c:v>
                </c:pt>
                <c:pt idx="448">
                  <c:v>433</c:v>
                </c:pt>
                <c:pt idx="449">
                  <c:v>445</c:v>
                </c:pt>
                <c:pt idx="450">
                  <c:v>4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C7-418F-9894-CC9725FB54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ersoná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List1!$C$2:$C$452</c:f>
              <c:numCache>
                <c:formatCode>General</c:formatCode>
                <c:ptCount val="45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11</c:v>
                </c:pt>
                <c:pt idx="20">
                  <c:v>12</c:v>
                </c:pt>
                <c:pt idx="21">
                  <c:v>13</c:v>
                </c:pt>
                <c:pt idx="22">
                  <c:v>13</c:v>
                </c:pt>
                <c:pt idx="23">
                  <c:v>17</c:v>
                </c:pt>
                <c:pt idx="24">
                  <c:v>28</c:v>
                </c:pt>
                <c:pt idx="25">
                  <c:v>32</c:v>
                </c:pt>
                <c:pt idx="26">
                  <c:v>33</c:v>
                </c:pt>
                <c:pt idx="27">
                  <c:v>36</c:v>
                </c:pt>
                <c:pt idx="28">
                  <c:v>55</c:v>
                </c:pt>
                <c:pt idx="29">
                  <c:v>60</c:v>
                </c:pt>
                <c:pt idx="30">
                  <c:v>88</c:v>
                </c:pt>
                <c:pt idx="31">
                  <c:v>174</c:v>
                </c:pt>
                <c:pt idx="32">
                  <c:v>199</c:v>
                </c:pt>
                <c:pt idx="33">
                  <c:v>212</c:v>
                </c:pt>
                <c:pt idx="34">
                  <c:v>285</c:v>
                </c:pt>
                <c:pt idx="35">
                  <c:v>321</c:v>
                </c:pt>
                <c:pt idx="36">
                  <c:v>348</c:v>
                </c:pt>
                <c:pt idx="37">
                  <c:v>428</c:v>
                </c:pt>
                <c:pt idx="38">
                  <c:v>509</c:v>
                </c:pt>
                <c:pt idx="39">
                  <c:v>547</c:v>
                </c:pt>
                <c:pt idx="40">
                  <c:v>561</c:v>
                </c:pt>
                <c:pt idx="41">
                  <c:v>681</c:v>
                </c:pt>
                <c:pt idx="42">
                  <c:v>801</c:v>
                </c:pt>
                <c:pt idx="43">
                  <c:v>965</c:v>
                </c:pt>
                <c:pt idx="44">
                  <c:v>1130</c:v>
                </c:pt>
                <c:pt idx="45">
                  <c:v>1296</c:v>
                </c:pt>
                <c:pt idx="46">
                  <c:v>1362</c:v>
                </c:pt>
                <c:pt idx="47">
                  <c:v>1357</c:v>
                </c:pt>
                <c:pt idx="48">
                  <c:v>1491</c:v>
                </c:pt>
                <c:pt idx="49">
                  <c:v>1630</c:v>
                </c:pt>
                <c:pt idx="50">
                  <c:v>1846</c:v>
                </c:pt>
                <c:pt idx="51">
                  <c:v>2003</c:v>
                </c:pt>
                <c:pt idx="52">
                  <c:v>2261</c:v>
                </c:pt>
                <c:pt idx="53">
                  <c:v>2334</c:v>
                </c:pt>
                <c:pt idx="54">
                  <c:v>2299</c:v>
                </c:pt>
                <c:pt idx="55">
                  <c:v>2455</c:v>
                </c:pt>
                <c:pt idx="56">
                  <c:v>2624</c:v>
                </c:pt>
                <c:pt idx="57">
                  <c:v>2636</c:v>
                </c:pt>
                <c:pt idx="58">
                  <c:v>3028</c:v>
                </c:pt>
                <c:pt idx="59">
                  <c:v>3160</c:v>
                </c:pt>
                <c:pt idx="60">
                  <c:v>3073</c:v>
                </c:pt>
                <c:pt idx="61">
                  <c:v>2913</c:v>
                </c:pt>
                <c:pt idx="62">
                  <c:v>2925</c:v>
                </c:pt>
                <c:pt idx="63">
                  <c:v>2848</c:v>
                </c:pt>
                <c:pt idx="64">
                  <c:v>3032</c:v>
                </c:pt>
                <c:pt idx="65">
                  <c:v>3203</c:v>
                </c:pt>
                <c:pt idx="66">
                  <c:v>3021</c:v>
                </c:pt>
                <c:pt idx="67">
                  <c:v>2771</c:v>
                </c:pt>
                <c:pt idx="68">
                  <c:v>2670</c:v>
                </c:pt>
                <c:pt idx="69">
                  <c:v>2517</c:v>
                </c:pt>
                <c:pt idx="70">
                  <c:v>2373</c:v>
                </c:pt>
                <c:pt idx="71">
                  <c:v>2488</c:v>
                </c:pt>
                <c:pt idx="72">
                  <c:v>2608</c:v>
                </c:pt>
                <c:pt idx="73">
                  <c:v>2510</c:v>
                </c:pt>
                <c:pt idx="74">
                  <c:v>2308</c:v>
                </c:pt>
                <c:pt idx="75">
                  <c:v>2065</c:v>
                </c:pt>
                <c:pt idx="76">
                  <c:v>2016</c:v>
                </c:pt>
                <c:pt idx="77">
                  <c:v>1858</c:v>
                </c:pt>
                <c:pt idx="78">
                  <c:v>1957</c:v>
                </c:pt>
                <c:pt idx="79">
                  <c:v>2025</c:v>
                </c:pt>
                <c:pt idx="80">
                  <c:v>1970</c:v>
                </c:pt>
                <c:pt idx="81">
                  <c:v>1714</c:v>
                </c:pt>
                <c:pt idx="82">
                  <c:v>1530</c:v>
                </c:pt>
                <c:pt idx="83">
                  <c:v>1508</c:v>
                </c:pt>
                <c:pt idx="84">
                  <c:v>1444</c:v>
                </c:pt>
                <c:pt idx="85">
                  <c:v>1466</c:v>
                </c:pt>
                <c:pt idx="86">
                  <c:v>1488</c:v>
                </c:pt>
                <c:pt idx="87">
                  <c:v>1445</c:v>
                </c:pt>
                <c:pt idx="88">
                  <c:v>1408</c:v>
                </c:pt>
                <c:pt idx="89">
                  <c:v>1261</c:v>
                </c:pt>
                <c:pt idx="90">
                  <c:v>1238</c:v>
                </c:pt>
                <c:pt idx="91">
                  <c:v>1231</c:v>
                </c:pt>
                <c:pt idx="92">
                  <c:v>1277</c:v>
                </c:pt>
                <c:pt idx="93">
                  <c:v>1311</c:v>
                </c:pt>
                <c:pt idx="94">
                  <c:v>1242</c:v>
                </c:pt>
                <c:pt idx="95">
                  <c:v>1180</c:v>
                </c:pt>
                <c:pt idx="96">
                  <c:v>1105</c:v>
                </c:pt>
                <c:pt idx="97">
                  <c:v>1166</c:v>
                </c:pt>
                <c:pt idx="98">
                  <c:v>1153</c:v>
                </c:pt>
                <c:pt idx="99">
                  <c:v>1190</c:v>
                </c:pt>
                <c:pt idx="100">
                  <c:v>1237</c:v>
                </c:pt>
                <c:pt idx="101">
                  <c:v>1215</c:v>
                </c:pt>
                <c:pt idx="102">
                  <c:v>1144</c:v>
                </c:pt>
                <c:pt idx="103">
                  <c:v>1102</c:v>
                </c:pt>
                <c:pt idx="104">
                  <c:v>1138</c:v>
                </c:pt>
                <c:pt idx="105">
                  <c:v>1142</c:v>
                </c:pt>
                <c:pt idx="106">
                  <c:v>1209</c:v>
                </c:pt>
                <c:pt idx="107">
                  <c:v>1242</c:v>
                </c:pt>
                <c:pt idx="108">
                  <c:v>1180</c:v>
                </c:pt>
                <c:pt idx="109">
                  <c:v>1124</c:v>
                </c:pt>
                <c:pt idx="110">
                  <c:v>1074</c:v>
                </c:pt>
                <c:pt idx="111">
                  <c:v>1171</c:v>
                </c:pt>
                <c:pt idx="112">
                  <c:v>1215</c:v>
                </c:pt>
                <c:pt idx="113">
                  <c:v>1299</c:v>
                </c:pt>
                <c:pt idx="114">
                  <c:v>1314</c:v>
                </c:pt>
                <c:pt idx="115">
                  <c:v>1258</c:v>
                </c:pt>
                <c:pt idx="116">
                  <c:v>1214</c:v>
                </c:pt>
                <c:pt idx="117">
                  <c:v>1182</c:v>
                </c:pt>
                <c:pt idx="118">
                  <c:v>1292</c:v>
                </c:pt>
                <c:pt idx="119">
                  <c:v>1379</c:v>
                </c:pt>
                <c:pt idx="120">
                  <c:v>1453</c:v>
                </c:pt>
                <c:pt idx="121">
                  <c:v>1518</c:v>
                </c:pt>
                <c:pt idx="122">
                  <c:v>1422</c:v>
                </c:pt>
                <c:pt idx="123">
                  <c:v>1348</c:v>
                </c:pt>
                <c:pt idx="124">
                  <c:v>1281</c:v>
                </c:pt>
                <c:pt idx="125">
                  <c:v>1532</c:v>
                </c:pt>
                <c:pt idx="126">
                  <c:v>1652</c:v>
                </c:pt>
                <c:pt idx="127">
                  <c:v>1725</c:v>
                </c:pt>
                <c:pt idx="128">
                  <c:v>1784</c:v>
                </c:pt>
                <c:pt idx="129">
                  <c:v>1683</c:v>
                </c:pt>
                <c:pt idx="130">
                  <c:v>1568</c:v>
                </c:pt>
                <c:pt idx="131">
                  <c:v>1449</c:v>
                </c:pt>
                <c:pt idx="132">
                  <c:v>1592</c:v>
                </c:pt>
                <c:pt idx="133">
                  <c:v>1674</c:v>
                </c:pt>
                <c:pt idx="134">
                  <c:v>1743</c:v>
                </c:pt>
                <c:pt idx="135">
                  <c:v>1744</c:v>
                </c:pt>
                <c:pt idx="136">
                  <c:v>1601</c:v>
                </c:pt>
                <c:pt idx="137">
                  <c:v>1455</c:v>
                </c:pt>
                <c:pt idx="138">
                  <c:v>1347</c:v>
                </c:pt>
                <c:pt idx="139">
                  <c:v>1343</c:v>
                </c:pt>
                <c:pt idx="140">
                  <c:v>1292</c:v>
                </c:pt>
                <c:pt idx="141">
                  <c:v>1323</c:v>
                </c:pt>
                <c:pt idx="142">
                  <c:v>1350</c:v>
                </c:pt>
                <c:pt idx="143">
                  <c:v>1255</c:v>
                </c:pt>
                <c:pt idx="144">
                  <c:v>1179</c:v>
                </c:pt>
                <c:pt idx="145">
                  <c:v>1069</c:v>
                </c:pt>
                <c:pt idx="146">
                  <c:v>1082</c:v>
                </c:pt>
                <c:pt idx="147">
                  <c:v>1086</c:v>
                </c:pt>
                <c:pt idx="148">
                  <c:v>1113</c:v>
                </c:pt>
                <c:pt idx="149">
                  <c:v>1124</c:v>
                </c:pt>
                <c:pt idx="150">
                  <c:v>1040</c:v>
                </c:pt>
                <c:pt idx="151">
                  <c:v>973</c:v>
                </c:pt>
                <c:pt idx="152">
                  <c:v>895</c:v>
                </c:pt>
                <c:pt idx="153">
                  <c:v>914</c:v>
                </c:pt>
                <c:pt idx="154">
                  <c:v>904</c:v>
                </c:pt>
                <c:pt idx="155">
                  <c:v>940</c:v>
                </c:pt>
                <c:pt idx="156">
                  <c:v>960</c:v>
                </c:pt>
                <c:pt idx="157">
                  <c:v>905</c:v>
                </c:pt>
                <c:pt idx="158">
                  <c:v>835</c:v>
                </c:pt>
                <c:pt idx="159">
                  <c:v>793</c:v>
                </c:pt>
                <c:pt idx="160">
                  <c:v>814</c:v>
                </c:pt>
                <c:pt idx="161">
                  <c:v>782</c:v>
                </c:pt>
                <c:pt idx="162">
                  <c:v>794</c:v>
                </c:pt>
                <c:pt idx="163">
                  <c:v>819</c:v>
                </c:pt>
                <c:pt idx="164">
                  <c:v>781</c:v>
                </c:pt>
                <c:pt idx="165">
                  <c:v>722</c:v>
                </c:pt>
                <c:pt idx="166">
                  <c:v>671</c:v>
                </c:pt>
                <c:pt idx="167">
                  <c:v>688</c:v>
                </c:pt>
                <c:pt idx="168">
                  <c:v>679</c:v>
                </c:pt>
                <c:pt idx="169">
                  <c:v>698</c:v>
                </c:pt>
                <c:pt idx="170">
                  <c:v>712</c:v>
                </c:pt>
                <c:pt idx="171">
                  <c:v>683</c:v>
                </c:pt>
                <c:pt idx="172">
                  <c:v>644</c:v>
                </c:pt>
                <c:pt idx="173">
                  <c:v>617</c:v>
                </c:pt>
                <c:pt idx="174">
                  <c:v>646</c:v>
                </c:pt>
                <c:pt idx="175">
                  <c:v>658</c:v>
                </c:pt>
                <c:pt idx="176">
                  <c:v>674</c:v>
                </c:pt>
                <c:pt idx="177">
                  <c:v>698</c:v>
                </c:pt>
                <c:pt idx="178">
                  <c:v>676</c:v>
                </c:pt>
                <c:pt idx="179">
                  <c:v>627</c:v>
                </c:pt>
                <c:pt idx="180">
                  <c:v>592</c:v>
                </c:pt>
                <c:pt idx="181">
                  <c:v>615</c:v>
                </c:pt>
                <c:pt idx="182">
                  <c:v>608</c:v>
                </c:pt>
                <c:pt idx="183">
                  <c:v>648</c:v>
                </c:pt>
                <c:pt idx="184">
                  <c:v>673</c:v>
                </c:pt>
                <c:pt idx="185">
                  <c:v>622</c:v>
                </c:pt>
                <c:pt idx="186">
                  <c:v>571</c:v>
                </c:pt>
                <c:pt idx="187">
                  <c:v>538</c:v>
                </c:pt>
                <c:pt idx="188">
                  <c:v>555</c:v>
                </c:pt>
                <c:pt idx="189">
                  <c:v>540</c:v>
                </c:pt>
                <c:pt idx="190">
                  <c:v>560</c:v>
                </c:pt>
                <c:pt idx="191">
                  <c:v>575</c:v>
                </c:pt>
                <c:pt idx="192">
                  <c:v>591</c:v>
                </c:pt>
                <c:pt idx="193">
                  <c:v>601</c:v>
                </c:pt>
                <c:pt idx="194">
                  <c:v>607</c:v>
                </c:pt>
                <c:pt idx="195">
                  <c:v>642</c:v>
                </c:pt>
                <c:pt idx="196">
                  <c:v>603</c:v>
                </c:pt>
                <c:pt idx="197">
                  <c:v>579</c:v>
                </c:pt>
                <c:pt idx="198">
                  <c:v>541</c:v>
                </c:pt>
                <c:pt idx="199">
                  <c:v>520</c:v>
                </c:pt>
                <c:pt idx="200">
                  <c:v>487</c:v>
                </c:pt>
                <c:pt idx="201">
                  <c:v>481</c:v>
                </c:pt>
                <c:pt idx="202">
                  <c:v>502</c:v>
                </c:pt>
                <c:pt idx="203">
                  <c:v>457</c:v>
                </c:pt>
                <c:pt idx="204">
                  <c:v>432</c:v>
                </c:pt>
                <c:pt idx="205">
                  <c:v>404</c:v>
                </c:pt>
                <c:pt idx="206">
                  <c:v>392</c:v>
                </c:pt>
                <c:pt idx="207">
                  <c:v>369</c:v>
                </c:pt>
                <c:pt idx="208">
                  <c:v>361</c:v>
                </c:pt>
                <c:pt idx="209">
                  <c:v>367</c:v>
                </c:pt>
                <c:pt idx="210">
                  <c:v>352</c:v>
                </c:pt>
                <c:pt idx="211">
                  <c:v>325</c:v>
                </c:pt>
                <c:pt idx="212">
                  <c:v>315</c:v>
                </c:pt>
                <c:pt idx="213">
                  <c:v>290</c:v>
                </c:pt>
                <c:pt idx="214">
                  <c:v>274</c:v>
                </c:pt>
                <c:pt idx="215">
                  <c:v>273</c:v>
                </c:pt>
                <c:pt idx="216">
                  <c:v>276</c:v>
                </c:pt>
                <c:pt idx="217">
                  <c:v>260</c:v>
                </c:pt>
                <c:pt idx="218">
                  <c:v>253</c:v>
                </c:pt>
                <c:pt idx="219">
                  <c:v>251</c:v>
                </c:pt>
                <c:pt idx="220">
                  <c:v>245</c:v>
                </c:pt>
                <c:pt idx="221">
                  <c:v>229</c:v>
                </c:pt>
                <c:pt idx="222">
                  <c:v>225</c:v>
                </c:pt>
                <c:pt idx="223">
                  <c:v>230</c:v>
                </c:pt>
                <c:pt idx="224">
                  <c:v>206</c:v>
                </c:pt>
                <c:pt idx="225">
                  <c:v>199</c:v>
                </c:pt>
                <c:pt idx="226">
                  <c:v>192</c:v>
                </c:pt>
                <c:pt idx="227">
                  <c:v>188</c:v>
                </c:pt>
                <c:pt idx="228">
                  <c:v>187</c:v>
                </c:pt>
                <c:pt idx="229">
                  <c:v>184</c:v>
                </c:pt>
                <c:pt idx="230">
                  <c:v>192</c:v>
                </c:pt>
                <c:pt idx="231">
                  <c:v>186</c:v>
                </c:pt>
                <c:pt idx="232">
                  <c:v>162</c:v>
                </c:pt>
                <c:pt idx="233">
                  <c:v>144</c:v>
                </c:pt>
                <c:pt idx="234">
                  <c:v>136</c:v>
                </c:pt>
                <c:pt idx="235">
                  <c:v>129</c:v>
                </c:pt>
                <c:pt idx="236">
                  <c:v>127</c:v>
                </c:pt>
                <c:pt idx="237">
                  <c:v>130</c:v>
                </c:pt>
                <c:pt idx="238">
                  <c:v>126</c:v>
                </c:pt>
                <c:pt idx="239">
                  <c:v>121</c:v>
                </c:pt>
                <c:pt idx="240">
                  <c:v>117</c:v>
                </c:pt>
                <c:pt idx="241">
                  <c:v>113</c:v>
                </c:pt>
                <c:pt idx="242">
                  <c:v>109</c:v>
                </c:pt>
                <c:pt idx="243">
                  <c:v>108</c:v>
                </c:pt>
                <c:pt idx="244">
                  <c:v>110</c:v>
                </c:pt>
                <c:pt idx="245">
                  <c:v>99</c:v>
                </c:pt>
                <c:pt idx="246">
                  <c:v>95</c:v>
                </c:pt>
                <c:pt idx="247">
                  <c:v>96</c:v>
                </c:pt>
                <c:pt idx="248">
                  <c:v>94</c:v>
                </c:pt>
                <c:pt idx="249">
                  <c:v>89</c:v>
                </c:pt>
                <c:pt idx="250">
                  <c:v>87</c:v>
                </c:pt>
                <c:pt idx="251">
                  <c:v>87</c:v>
                </c:pt>
                <c:pt idx="252">
                  <c:v>83</c:v>
                </c:pt>
                <c:pt idx="253">
                  <c:v>79</c:v>
                </c:pt>
                <c:pt idx="254">
                  <c:v>79</c:v>
                </c:pt>
                <c:pt idx="255">
                  <c:v>79</c:v>
                </c:pt>
                <c:pt idx="256">
                  <c:v>76</c:v>
                </c:pt>
                <c:pt idx="257">
                  <c:v>76</c:v>
                </c:pt>
                <c:pt idx="258">
                  <c:v>77</c:v>
                </c:pt>
                <c:pt idx="259">
                  <c:v>78</c:v>
                </c:pt>
                <c:pt idx="260">
                  <c:v>73</c:v>
                </c:pt>
                <c:pt idx="261">
                  <c:v>74</c:v>
                </c:pt>
                <c:pt idx="262">
                  <c:v>73</c:v>
                </c:pt>
                <c:pt idx="263">
                  <c:v>70</c:v>
                </c:pt>
                <c:pt idx="264">
                  <c:v>70</c:v>
                </c:pt>
                <c:pt idx="265">
                  <c:v>72</c:v>
                </c:pt>
                <c:pt idx="266">
                  <c:v>70</c:v>
                </c:pt>
                <c:pt idx="267">
                  <c:v>67</c:v>
                </c:pt>
                <c:pt idx="268">
                  <c:v>66</c:v>
                </c:pt>
                <c:pt idx="269">
                  <c:v>64</c:v>
                </c:pt>
                <c:pt idx="270">
                  <c:v>62</c:v>
                </c:pt>
                <c:pt idx="271">
                  <c:v>62</c:v>
                </c:pt>
                <c:pt idx="272">
                  <c:v>61</c:v>
                </c:pt>
                <c:pt idx="273">
                  <c:v>58</c:v>
                </c:pt>
                <c:pt idx="274">
                  <c:v>55</c:v>
                </c:pt>
                <c:pt idx="275">
                  <c:v>54</c:v>
                </c:pt>
                <c:pt idx="276">
                  <c:v>53</c:v>
                </c:pt>
                <c:pt idx="277">
                  <c:v>53</c:v>
                </c:pt>
                <c:pt idx="278">
                  <c:v>53</c:v>
                </c:pt>
                <c:pt idx="279">
                  <c:v>52</c:v>
                </c:pt>
                <c:pt idx="280">
                  <c:v>50</c:v>
                </c:pt>
                <c:pt idx="281">
                  <c:v>48</c:v>
                </c:pt>
                <c:pt idx="282">
                  <c:v>48</c:v>
                </c:pt>
                <c:pt idx="283">
                  <c:v>48</c:v>
                </c:pt>
                <c:pt idx="284">
                  <c:v>48</c:v>
                </c:pt>
                <c:pt idx="285">
                  <c:v>48</c:v>
                </c:pt>
                <c:pt idx="286">
                  <c:v>48</c:v>
                </c:pt>
                <c:pt idx="287">
                  <c:v>48</c:v>
                </c:pt>
                <c:pt idx="288">
                  <c:v>48</c:v>
                </c:pt>
                <c:pt idx="289">
                  <c:v>47</c:v>
                </c:pt>
                <c:pt idx="290">
                  <c:v>47</c:v>
                </c:pt>
                <c:pt idx="291">
                  <c:v>47</c:v>
                </c:pt>
                <c:pt idx="292">
                  <c:v>47</c:v>
                </c:pt>
                <c:pt idx="293">
                  <c:v>47</c:v>
                </c:pt>
                <c:pt idx="294">
                  <c:v>47</c:v>
                </c:pt>
                <c:pt idx="295">
                  <c:v>47</c:v>
                </c:pt>
                <c:pt idx="296">
                  <c:v>47</c:v>
                </c:pt>
                <c:pt idx="297">
                  <c:v>46</c:v>
                </c:pt>
                <c:pt idx="298">
                  <c:v>46</c:v>
                </c:pt>
                <c:pt idx="299">
                  <c:v>46</c:v>
                </c:pt>
                <c:pt idx="300">
                  <c:v>46</c:v>
                </c:pt>
                <c:pt idx="301">
                  <c:v>46</c:v>
                </c:pt>
                <c:pt idx="302">
                  <c:v>47</c:v>
                </c:pt>
                <c:pt idx="303">
                  <c:v>47</c:v>
                </c:pt>
                <c:pt idx="304">
                  <c:v>47</c:v>
                </c:pt>
                <c:pt idx="305">
                  <c:v>47</c:v>
                </c:pt>
                <c:pt idx="306">
                  <c:v>47</c:v>
                </c:pt>
                <c:pt idx="307">
                  <c:v>47</c:v>
                </c:pt>
                <c:pt idx="308">
                  <c:v>47</c:v>
                </c:pt>
                <c:pt idx="309">
                  <c:v>47</c:v>
                </c:pt>
                <c:pt idx="310">
                  <c:v>47</c:v>
                </c:pt>
                <c:pt idx="311">
                  <c:v>47</c:v>
                </c:pt>
                <c:pt idx="312">
                  <c:v>47</c:v>
                </c:pt>
                <c:pt idx="313">
                  <c:v>48</c:v>
                </c:pt>
                <c:pt idx="314">
                  <c:v>48</c:v>
                </c:pt>
                <c:pt idx="315">
                  <c:v>48</c:v>
                </c:pt>
                <c:pt idx="316">
                  <c:v>48</c:v>
                </c:pt>
                <c:pt idx="317">
                  <c:v>48</c:v>
                </c:pt>
                <c:pt idx="318">
                  <c:v>47</c:v>
                </c:pt>
                <c:pt idx="319">
                  <c:v>47</c:v>
                </c:pt>
                <c:pt idx="320">
                  <c:v>47</c:v>
                </c:pt>
                <c:pt idx="321">
                  <c:v>47</c:v>
                </c:pt>
                <c:pt idx="322">
                  <c:v>47</c:v>
                </c:pt>
                <c:pt idx="323">
                  <c:v>48</c:v>
                </c:pt>
                <c:pt idx="324">
                  <c:v>47</c:v>
                </c:pt>
                <c:pt idx="325">
                  <c:v>47</c:v>
                </c:pt>
                <c:pt idx="326">
                  <c:v>46</c:v>
                </c:pt>
                <c:pt idx="327">
                  <c:v>46</c:v>
                </c:pt>
                <c:pt idx="328">
                  <c:v>45</c:v>
                </c:pt>
                <c:pt idx="329">
                  <c:v>46</c:v>
                </c:pt>
                <c:pt idx="330">
                  <c:v>47</c:v>
                </c:pt>
                <c:pt idx="331">
                  <c:v>47</c:v>
                </c:pt>
                <c:pt idx="332">
                  <c:v>47</c:v>
                </c:pt>
                <c:pt idx="333">
                  <c:v>47</c:v>
                </c:pt>
                <c:pt idx="334">
                  <c:v>47</c:v>
                </c:pt>
                <c:pt idx="335">
                  <c:v>47</c:v>
                </c:pt>
                <c:pt idx="336">
                  <c:v>47</c:v>
                </c:pt>
                <c:pt idx="337">
                  <c:v>47</c:v>
                </c:pt>
                <c:pt idx="338">
                  <c:v>46</c:v>
                </c:pt>
                <c:pt idx="339">
                  <c:v>46</c:v>
                </c:pt>
                <c:pt idx="340">
                  <c:v>46</c:v>
                </c:pt>
                <c:pt idx="341">
                  <c:v>47</c:v>
                </c:pt>
                <c:pt idx="342">
                  <c:v>47</c:v>
                </c:pt>
                <c:pt idx="343">
                  <c:v>46</c:v>
                </c:pt>
                <c:pt idx="344">
                  <c:v>46</c:v>
                </c:pt>
                <c:pt idx="345">
                  <c:v>46</c:v>
                </c:pt>
                <c:pt idx="346">
                  <c:v>46</c:v>
                </c:pt>
                <c:pt idx="347">
                  <c:v>46</c:v>
                </c:pt>
                <c:pt idx="348">
                  <c:v>46</c:v>
                </c:pt>
                <c:pt idx="349">
                  <c:v>46</c:v>
                </c:pt>
                <c:pt idx="350">
                  <c:v>45</c:v>
                </c:pt>
                <c:pt idx="351">
                  <c:v>45</c:v>
                </c:pt>
                <c:pt idx="352">
                  <c:v>45</c:v>
                </c:pt>
                <c:pt idx="353">
                  <c:v>45</c:v>
                </c:pt>
                <c:pt idx="354">
                  <c:v>45</c:v>
                </c:pt>
                <c:pt idx="355">
                  <c:v>45</c:v>
                </c:pt>
                <c:pt idx="356">
                  <c:v>46</c:v>
                </c:pt>
                <c:pt idx="357">
                  <c:v>46</c:v>
                </c:pt>
                <c:pt idx="358">
                  <c:v>46</c:v>
                </c:pt>
                <c:pt idx="359">
                  <c:v>46</c:v>
                </c:pt>
                <c:pt idx="360">
                  <c:v>47</c:v>
                </c:pt>
                <c:pt idx="361">
                  <c:v>47</c:v>
                </c:pt>
                <c:pt idx="362">
                  <c:v>47</c:v>
                </c:pt>
                <c:pt idx="363">
                  <c:v>47</c:v>
                </c:pt>
                <c:pt idx="364">
                  <c:v>47</c:v>
                </c:pt>
                <c:pt idx="365">
                  <c:v>49</c:v>
                </c:pt>
                <c:pt idx="366">
                  <c:v>50</c:v>
                </c:pt>
                <c:pt idx="367">
                  <c:v>51</c:v>
                </c:pt>
                <c:pt idx="368">
                  <c:v>51</c:v>
                </c:pt>
                <c:pt idx="369">
                  <c:v>51</c:v>
                </c:pt>
                <c:pt idx="370">
                  <c:v>52</c:v>
                </c:pt>
                <c:pt idx="371">
                  <c:v>53</c:v>
                </c:pt>
                <c:pt idx="372">
                  <c:v>54</c:v>
                </c:pt>
                <c:pt idx="373">
                  <c:v>55</c:v>
                </c:pt>
                <c:pt idx="374">
                  <c:v>55</c:v>
                </c:pt>
                <c:pt idx="375">
                  <c:v>54</c:v>
                </c:pt>
                <c:pt idx="376">
                  <c:v>53</c:v>
                </c:pt>
                <c:pt idx="377">
                  <c:v>53</c:v>
                </c:pt>
                <c:pt idx="378">
                  <c:v>54</c:v>
                </c:pt>
                <c:pt idx="379">
                  <c:v>53</c:v>
                </c:pt>
                <c:pt idx="380">
                  <c:v>53</c:v>
                </c:pt>
                <c:pt idx="381">
                  <c:v>52</c:v>
                </c:pt>
                <c:pt idx="382">
                  <c:v>50</c:v>
                </c:pt>
                <c:pt idx="383">
                  <c:v>50</c:v>
                </c:pt>
                <c:pt idx="384">
                  <c:v>54</c:v>
                </c:pt>
                <c:pt idx="385">
                  <c:v>56</c:v>
                </c:pt>
                <c:pt idx="386">
                  <c:v>56</c:v>
                </c:pt>
                <c:pt idx="387">
                  <c:v>56</c:v>
                </c:pt>
                <c:pt idx="388">
                  <c:v>56</c:v>
                </c:pt>
                <c:pt idx="389">
                  <c:v>57</c:v>
                </c:pt>
                <c:pt idx="390">
                  <c:v>57</c:v>
                </c:pt>
                <c:pt idx="391">
                  <c:v>61</c:v>
                </c:pt>
                <c:pt idx="392">
                  <c:v>63</c:v>
                </c:pt>
                <c:pt idx="393">
                  <c:v>68</c:v>
                </c:pt>
                <c:pt idx="394">
                  <c:v>69</c:v>
                </c:pt>
                <c:pt idx="395">
                  <c:v>70</c:v>
                </c:pt>
                <c:pt idx="396">
                  <c:v>69</c:v>
                </c:pt>
                <c:pt idx="397">
                  <c:v>68</c:v>
                </c:pt>
                <c:pt idx="398">
                  <c:v>70</c:v>
                </c:pt>
                <c:pt idx="399">
                  <c:v>72</c:v>
                </c:pt>
                <c:pt idx="400">
                  <c:v>72</c:v>
                </c:pt>
                <c:pt idx="401">
                  <c:v>73</c:v>
                </c:pt>
                <c:pt idx="402">
                  <c:v>74</c:v>
                </c:pt>
                <c:pt idx="403">
                  <c:v>75</c:v>
                </c:pt>
                <c:pt idx="404">
                  <c:v>73</c:v>
                </c:pt>
                <c:pt idx="405">
                  <c:v>75</c:v>
                </c:pt>
                <c:pt idx="406">
                  <c:v>71</c:v>
                </c:pt>
                <c:pt idx="407">
                  <c:v>71</c:v>
                </c:pt>
                <c:pt idx="408">
                  <c:v>67</c:v>
                </c:pt>
                <c:pt idx="409">
                  <c:v>72</c:v>
                </c:pt>
                <c:pt idx="410">
                  <c:v>72</c:v>
                </c:pt>
                <c:pt idx="411">
                  <c:v>73</c:v>
                </c:pt>
                <c:pt idx="412">
                  <c:v>85</c:v>
                </c:pt>
                <c:pt idx="413">
                  <c:v>88</c:v>
                </c:pt>
                <c:pt idx="414">
                  <c:v>96</c:v>
                </c:pt>
                <c:pt idx="415">
                  <c:v>99</c:v>
                </c:pt>
                <c:pt idx="416">
                  <c:v>105</c:v>
                </c:pt>
                <c:pt idx="417">
                  <c:v>101</c:v>
                </c:pt>
                <c:pt idx="418">
                  <c:v>104</c:v>
                </c:pt>
                <c:pt idx="419">
                  <c:v>120</c:v>
                </c:pt>
                <c:pt idx="420">
                  <c:v>122</c:v>
                </c:pt>
                <c:pt idx="421">
                  <c:v>134</c:v>
                </c:pt>
                <c:pt idx="422">
                  <c:v>135</c:v>
                </c:pt>
                <c:pt idx="423">
                  <c:v>140</c:v>
                </c:pt>
                <c:pt idx="424">
                  <c:v>140</c:v>
                </c:pt>
                <c:pt idx="425">
                  <c:v>141</c:v>
                </c:pt>
                <c:pt idx="426">
                  <c:v>180</c:v>
                </c:pt>
                <c:pt idx="427">
                  <c:v>188</c:v>
                </c:pt>
                <c:pt idx="428">
                  <c:v>200</c:v>
                </c:pt>
                <c:pt idx="429">
                  <c:v>213</c:v>
                </c:pt>
                <c:pt idx="430">
                  <c:v>228</c:v>
                </c:pt>
                <c:pt idx="431">
                  <c:v>233</c:v>
                </c:pt>
                <c:pt idx="432">
                  <c:v>235</c:v>
                </c:pt>
                <c:pt idx="433">
                  <c:v>266</c:v>
                </c:pt>
                <c:pt idx="434">
                  <c:v>282</c:v>
                </c:pt>
                <c:pt idx="435">
                  <c:v>298</c:v>
                </c:pt>
                <c:pt idx="436">
                  <c:v>322</c:v>
                </c:pt>
                <c:pt idx="437">
                  <c:v>349</c:v>
                </c:pt>
                <c:pt idx="438">
                  <c:v>359</c:v>
                </c:pt>
                <c:pt idx="439">
                  <c:v>366</c:v>
                </c:pt>
                <c:pt idx="440">
                  <c:v>400</c:v>
                </c:pt>
                <c:pt idx="441">
                  <c:v>416</c:v>
                </c:pt>
                <c:pt idx="442">
                  <c:v>402</c:v>
                </c:pt>
                <c:pt idx="443">
                  <c:v>418</c:v>
                </c:pt>
                <c:pt idx="444">
                  <c:v>453</c:v>
                </c:pt>
                <c:pt idx="445">
                  <c:v>452</c:v>
                </c:pt>
                <c:pt idx="446">
                  <c:v>449</c:v>
                </c:pt>
                <c:pt idx="447">
                  <c:v>483</c:v>
                </c:pt>
                <c:pt idx="448">
                  <c:v>524</c:v>
                </c:pt>
                <c:pt idx="449">
                  <c:v>555</c:v>
                </c:pt>
                <c:pt idx="450">
                  <c:v>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C7-418F-9894-CC9725FB54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Celke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Lis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List1!$D$2:$D$452</c:f>
              <c:numCache>
                <c:formatCode>General</c:formatCode>
                <c:ptCount val="451"/>
                <c:pt idx="0">
                  <c:v>7</c:v>
                </c:pt>
                <c:pt idx="1">
                  <c:v>6</c:v>
                </c:pt>
                <c:pt idx="2">
                  <c:v>6</c:v>
                </c:pt>
                <c:pt idx="3">
                  <c:v>9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9</c:v>
                </c:pt>
                <c:pt idx="10">
                  <c:v>9</c:v>
                </c:pt>
                <c:pt idx="11">
                  <c:v>12</c:v>
                </c:pt>
                <c:pt idx="12">
                  <c:v>3</c:v>
                </c:pt>
                <c:pt idx="13">
                  <c:v>5</c:v>
                </c:pt>
                <c:pt idx="14">
                  <c:v>5</c:v>
                </c:pt>
                <c:pt idx="15">
                  <c:v>7</c:v>
                </c:pt>
                <c:pt idx="16">
                  <c:v>8</c:v>
                </c:pt>
                <c:pt idx="17">
                  <c:v>10</c:v>
                </c:pt>
                <c:pt idx="18">
                  <c:v>9</c:v>
                </c:pt>
                <c:pt idx="19">
                  <c:v>14</c:v>
                </c:pt>
                <c:pt idx="20">
                  <c:v>13</c:v>
                </c:pt>
                <c:pt idx="21">
                  <c:v>13</c:v>
                </c:pt>
                <c:pt idx="22">
                  <c:v>14</c:v>
                </c:pt>
                <c:pt idx="23">
                  <c:v>21</c:v>
                </c:pt>
                <c:pt idx="24">
                  <c:v>30</c:v>
                </c:pt>
                <c:pt idx="25">
                  <c:v>39</c:v>
                </c:pt>
                <c:pt idx="26">
                  <c:v>40</c:v>
                </c:pt>
                <c:pt idx="27">
                  <c:v>43</c:v>
                </c:pt>
                <c:pt idx="28">
                  <c:v>66</c:v>
                </c:pt>
                <c:pt idx="29">
                  <c:v>98</c:v>
                </c:pt>
                <c:pt idx="30">
                  <c:v>154</c:v>
                </c:pt>
                <c:pt idx="31">
                  <c:v>293</c:v>
                </c:pt>
                <c:pt idx="32">
                  <c:v>353</c:v>
                </c:pt>
                <c:pt idx="33">
                  <c:v>418</c:v>
                </c:pt>
                <c:pt idx="34">
                  <c:v>640</c:v>
                </c:pt>
                <c:pt idx="35">
                  <c:v>748</c:v>
                </c:pt>
                <c:pt idx="36">
                  <c:v>813</c:v>
                </c:pt>
                <c:pt idx="37">
                  <c:v>961</c:v>
                </c:pt>
                <c:pt idx="38">
                  <c:v>1174</c:v>
                </c:pt>
                <c:pt idx="39">
                  <c:v>1232</c:v>
                </c:pt>
                <c:pt idx="40">
                  <c:v>1213</c:v>
                </c:pt>
                <c:pt idx="41">
                  <c:v>1446</c:v>
                </c:pt>
                <c:pt idx="42">
                  <c:v>1736</c:v>
                </c:pt>
                <c:pt idx="43">
                  <c:v>2030</c:v>
                </c:pt>
                <c:pt idx="44">
                  <c:v>2360</c:v>
                </c:pt>
                <c:pt idx="45">
                  <c:v>2654</c:v>
                </c:pt>
                <c:pt idx="46">
                  <c:v>2797</c:v>
                </c:pt>
                <c:pt idx="47">
                  <c:v>2746</c:v>
                </c:pt>
                <c:pt idx="48">
                  <c:v>3050</c:v>
                </c:pt>
                <c:pt idx="49">
                  <c:v>3299</c:v>
                </c:pt>
                <c:pt idx="50">
                  <c:v>3793</c:v>
                </c:pt>
                <c:pt idx="51">
                  <c:v>4106</c:v>
                </c:pt>
                <c:pt idx="52">
                  <c:v>4650</c:v>
                </c:pt>
                <c:pt idx="53">
                  <c:v>4805</c:v>
                </c:pt>
                <c:pt idx="54">
                  <c:v>4813</c:v>
                </c:pt>
                <c:pt idx="55">
                  <c:v>5149</c:v>
                </c:pt>
                <c:pt idx="56">
                  <c:v>5647</c:v>
                </c:pt>
                <c:pt idx="57">
                  <c:v>5684</c:v>
                </c:pt>
                <c:pt idx="58">
                  <c:v>6513</c:v>
                </c:pt>
                <c:pt idx="59">
                  <c:v>6942</c:v>
                </c:pt>
                <c:pt idx="60">
                  <c:v>6942</c:v>
                </c:pt>
                <c:pt idx="61">
                  <c:v>6677</c:v>
                </c:pt>
                <c:pt idx="62">
                  <c:v>6751</c:v>
                </c:pt>
                <c:pt idx="63">
                  <c:v>6602</c:v>
                </c:pt>
                <c:pt idx="64">
                  <c:v>6997</c:v>
                </c:pt>
                <c:pt idx="65">
                  <c:v>7497</c:v>
                </c:pt>
                <c:pt idx="66">
                  <c:v>7172</c:v>
                </c:pt>
                <c:pt idx="67">
                  <c:v>6573</c:v>
                </c:pt>
                <c:pt idx="68">
                  <c:v>6391</c:v>
                </c:pt>
                <c:pt idx="69">
                  <c:v>5991</c:v>
                </c:pt>
                <c:pt idx="70">
                  <c:v>5729</c:v>
                </c:pt>
                <c:pt idx="71">
                  <c:v>6262</c:v>
                </c:pt>
                <c:pt idx="72">
                  <c:v>6762</c:v>
                </c:pt>
                <c:pt idx="73">
                  <c:v>6711</c:v>
                </c:pt>
                <c:pt idx="74">
                  <c:v>6167</c:v>
                </c:pt>
                <c:pt idx="75">
                  <c:v>5811</c:v>
                </c:pt>
                <c:pt idx="76">
                  <c:v>5775</c:v>
                </c:pt>
                <c:pt idx="77">
                  <c:v>5403</c:v>
                </c:pt>
                <c:pt idx="78">
                  <c:v>5694</c:v>
                </c:pt>
                <c:pt idx="79">
                  <c:v>5912</c:v>
                </c:pt>
                <c:pt idx="80">
                  <c:v>5913</c:v>
                </c:pt>
                <c:pt idx="81">
                  <c:v>5277</c:v>
                </c:pt>
                <c:pt idx="82">
                  <c:v>4817</c:v>
                </c:pt>
                <c:pt idx="83">
                  <c:v>4920</c:v>
                </c:pt>
                <c:pt idx="84">
                  <c:v>4571</c:v>
                </c:pt>
                <c:pt idx="85">
                  <c:v>4586</c:v>
                </c:pt>
                <c:pt idx="86">
                  <c:v>4701</c:v>
                </c:pt>
                <c:pt idx="87">
                  <c:v>4422</c:v>
                </c:pt>
                <c:pt idx="88">
                  <c:v>4353</c:v>
                </c:pt>
                <c:pt idx="89">
                  <c:v>3946</c:v>
                </c:pt>
                <c:pt idx="90">
                  <c:v>3825</c:v>
                </c:pt>
                <c:pt idx="91">
                  <c:v>3631</c:v>
                </c:pt>
                <c:pt idx="92">
                  <c:v>3709</c:v>
                </c:pt>
                <c:pt idx="93">
                  <c:v>3803</c:v>
                </c:pt>
                <c:pt idx="94">
                  <c:v>3622</c:v>
                </c:pt>
                <c:pt idx="95">
                  <c:v>3394</c:v>
                </c:pt>
                <c:pt idx="96">
                  <c:v>3166</c:v>
                </c:pt>
                <c:pt idx="97">
                  <c:v>3179</c:v>
                </c:pt>
                <c:pt idx="98">
                  <c:v>3020</c:v>
                </c:pt>
                <c:pt idx="99">
                  <c:v>3112</c:v>
                </c:pt>
                <c:pt idx="100">
                  <c:v>3211</c:v>
                </c:pt>
                <c:pt idx="101">
                  <c:v>3176</c:v>
                </c:pt>
                <c:pt idx="102">
                  <c:v>3013</c:v>
                </c:pt>
                <c:pt idx="103">
                  <c:v>2925</c:v>
                </c:pt>
                <c:pt idx="104">
                  <c:v>2965</c:v>
                </c:pt>
                <c:pt idx="105">
                  <c:v>2951</c:v>
                </c:pt>
                <c:pt idx="106">
                  <c:v>3019</c:v>
                </c:pt>
                <c:pt idx="107">
                  <c:v>3056</c:v>
                </c:pt>
                <c:pt idx="108">
                  <c:v>3035</c:v>
                </c:pt>
                <c:pt idx="109">
                  <c:v>2850</c:v>
                </c:pt>
                <c:pt idx="110">
                  <c:v>2733</c:v>
                </c:pt>
                <c:pt idx="111">
                  <c:v>2877</c:v>
                </c:pt>
                <c:pt idx="112">
                  <c:v>2933</c:v>
                </c:pt>
                <c:pt idx="113">
                  <c:v>3040</c:v>
                </c:pt>
                <c:pt idx="114">
                  <c:v>3021</c:v>
                </c:pt>
                <c:pt idx="115">
                  <c:v>2862</c:v>
                </c:pt>
                <c:pt idx="116">
                  <c:v>2793</c:v>
                </c:pt>
                <c:pt idx="117">
                  <c:v>2760</c:v>
                </c:pt>
                <c:pt idx="118">
                  <c:v>2914</c:v>
                </c:pt>
                <c:pt idx="119">
                  <c:v>3048</c:v>
                </c:pt>
                <c:pt idx="120">
                  <c:v>3220</c:v>
                </c:pt>
                <c:pt idx="121">
                  <c:v>3367</c:v>
                </c:pt>
                <c:pt idx="122">
                  <c:v>3137</c:v>
                </c:pt>
                <c:pt idx="123">
                  <c:v>3029</c:v>
                </c:pt>
                <c:pt idx="124">
                  <c:v>2796</c:v>
                </c:pt>
                <c:pt idx="125">
                  <c:v>3278</c:v>
                </c:pt>
                <c:pt idx="126">
                  <c:v>3486</c:v>
                </c:pt>
                <c:pt idx="127">
                  <c:v>3651</c:v>
                </c:pt>
                <c:pt idx="128">
                  <c:v>3853</c:v>
                </c:pt>
                <c:pt idx="129">
                  <c:v>3753</c:v>
                </c:pt>
                <c:pt idx="130">
                  <c:v>3505</c:v>
                </c:pt>
                <c:pt idx="131">
                  <c:v>3239</c:v>
                </c:pt>
                <c:pt idx="132">
                  <c:v>3523</c:v>
                </c:pt>
                <c:pt idx="133">
                  <c:v>3669</c:v>
                </c:pt>
                <c:pt idx="134">
                  <c:v>3841</c:v>
                </c:pt>
                <c:pt idx="135">
                  <c:v>3888</c:v>
                </c:pt>
                <c:pt idx="136">
                  <c:v>3659</c:v>
                </c:pt>
                <c:pt idx="137">
                  <c:v>3318</c:v>
                </c:pt>
                <c:pt idx="138">
                  <c:v>3054</c:v>
                </c:pt>
                <c:pt idx="139">
                  <c:v>2989</c:v>
                </c:pt>
                <c:pt idx="140">
                  <c:v>2824</c:v>
                </c:pt>
                <c:pt idx="141">
                  <c:v>2939</c:v>
                </c:pt>
                <c:pt idx="142">
                  <c:v>3036</c:v>
                </c:pt>
                <c:pt idx="143">
                  <c:v>2811</c:v>
                </c:pt>
                <c:pt idx="144">
                  <c:v>2670</c:v>
                </c:pt>
                <c:pt idx="145">
                  <c:v>2459</c:v>
                </c:pt>
                <c:pt idx="146">
                  <c:v>2434</c:v>
                </c:pt>
                <c:pt idx="147">
                  <c:v>2383</c:v>
                </c:pt>
                <c:pt idx="148">
                  <c:v>2461</c:v>
                </c:pt>
                <c:pt idx="149">
                  <c:v>2508</c:v>
                </c:pt>
                <c:pt idx="150">
                  <c:v>2282</c:v>
                </c:pt>
                <c:pt idx="151">
                  <c:v>2173</c:v>
                </c:pt>
                <c:pt idx="152">
                  <c:v>1958</c:v>
                </c:pt>
                <c:pt idx="153">
                  <c:v>2004</c:v>
                </c:pt>
                <c:pt idx="154">
                  <c:v>2017</c:v>
                </c:pt>
                <c:pt idx="155">
                  <c:v>2108</c:v>
                </c:pt>
                <c:pt idx="156">
                  <c:v>2156</c:v>
                </c:pt>
                <c:pt idx="157">
                  <c:v>2073</c:v>
                </c:pt>
                <c:pt idx="158">
                  <c:v>1941</c:v>
                </c:pt>
                <c:pt idx="159">
                  <c:v>1845</c:v>
                </c:pt>
                <c:pt idx="160">
                  <c:v>1880</c:v>
                </c:pt>
                <c:pt idx="161">
                  <c:v>1843</c:v>
                </c:pt>
                <c:pt idx="162">
                  <c:v>1878</c:v>
                </c:pt>
                <c:pt idx="163">
                  <c:v>1949</c:v>
                </c:pt>
                <c:pt idx="164">
                  <c:v>1876</c:v>
                </c:pt>
                <c:pt idx="165">
                  <c:v>1696</c:v>
                </c:pt>
                <c:pt idx="166">
                  <c:v>1553</c:v>
                </c:pt>
                <c:pt idx="167">
                  <c:v>1549</c:v>
                </c:pt>
                <c:pt idx="168">
                  <c:v>1456</c:v>
                </c:pt>
                <c:pt idx="169">
                  <c:v>1454</c:v>
                </c:pt>
                <c:pt idx="170">
                  <c:v>1483</c:v>
                </c:pt>
                <c:pt idx="171">
                  <c:v>1394</c:v>
                </c:pt>
                <c:pt idx="172">
                  <c:v>1294</c:v>
                </c:pt>
                <c:pt idx="173">
                  <c:v>1195</c:v>
                </c:pt>
                <c:pt idx="174">
                  <c:v>1269</c:v>
                </c:pt>
                <c:pt idx="175">
                  <c:v>1255</c:v>
                </c:pt>
                <c:pt idx="176">
                  <c:v>1282</c:v>
                </c:pt>
                <c:pt idx="177">
                  <c:v>1336</c:v>
                </c:pt>
                <c:pt idx="178">
                  <c:v>1301</c:v>
                </c:pt>
                <c:pt idx="179">
                  <c:v>1219</c:v>
                </c:pt>
                <c:pt idx="180">
                  <c:v>1165</c:v>
                </c:pt>
                <c:pt idx="181">
                  <c:v>1235</c:v>
                </c:pt>
                <c:pt idx="182">
                  <c:v>1194</c:v>
                </c:pt>
                <c:pt idx="183">
                  <c:v>1241</c:v>
                </c:pt>
                <c:pt idx="184">
                  <c:v>1258</c:v>
                </c:pt>
                <c:pt idx="185">
                  <c:v>1139</c:v>
                </c:pt>
                <c:pt idx="186">
                  <c:v>1059</c:v>
                </c:pt>
                <c:pt idx="187">
                  <c:v>982</c:v>
                </c:pt>
                <c:pt idx="188">
                  <c:v>994</c:v>
                </c:pt>
                <c:pt idx="189">
                  <c:v>995</c:v>
                </c:pt>
                <c:pt idx="190">
                  <c:v>1056</c:v>
                </c:pt>
                <c:pt idx="191">
                  <c:v>1070</c:v>
                </c:pt>
                <c:pt idx="192">
                  <c:v>1107</c:v>
                </c:pt>
                <c:pt idx="193">
                  <c:v>1114</c:v>
                </c:pt>
                <c:pt idx="194">
                  <c:v>1120</c:v>
                </c:pt>
                <c:pt idx="195">
                  <c:v>1176</c:v>
                </c:pt>
                <c:pt idx="196">
                  <c:v>1073</c:v>
                </c:pt>
                <c:pt idx="197">
                  <c:v>1028</c:v>
                </c:pt>
                <c:pt idx="198">
                  <c:v>977</c:v>
                </c:pt>
                <c:pt idx="199">
                  <c:v>956</c:v>
                </c:pt>
                <c:pt idx="200">
                  <c:v>903</c:v>
                </c:pt>
                <c:pt idx="201">
                  <c:v>896</c:v>
                </c:pt>
                <c:pt idx="202">
                  <c:v>923</c:v>
                </c:pt>
                <c:pt idx="203">
                  <c:v>879</c:v>
                </c:pt>
                <c:pt idx="204">
                  <c:v>819</c:v>
                </c:pt>
                <c:pt idx="205">
                  <c:v>787</c:v>
                </c:pt>
                <c:pt idx="206">
                  <c:v>757</c:v>
                </c:pt>
                <c:pt idx="207">
                  <c:v>700</c:v>
                </c:pt>
                <c:pt idx="208">
                  <c:v>691</c:v>
                </c:pt>
                <c:pt idx="209">
                  <c:v>709</c:v>
                </c:pt>
                <c:pt idx="210">
                  <c:v>662</c:v>
                </c:pt>
                <c:pt idx="211">
                  <c:v>626</c:v>
                </c:pt>
                <c:pt idx="212">
                  <c:v>601</c:v>
                </c:pt>
                <c:pt idx="213">
                  <c:v>547</c:v>
                </c:pt>
                <c:pt idx="214">
                  <c:v>521</c:v>
                </c:pt>
                <c:pt idx="215">
                  <c:v>519</c:v>
                </c:pt>
                <c:pt idx="216">
                  <c:v>520</c:v>
                </c:pt>
                <c:pt idx="217">
                  <c:v>474</c:v>
                </c:pt>
                <c:pt idx="218">
                  <c:v>464</c:v>
                </c:pt>
                <c:pt idx="219">
                  <c:v>447</c:v>
                </c:pt>
                <c:pt idx="220">
                  <c:v>412</c:v>
                </c:pt>
                <c:pt idx="221">
                  <c:v>391</c:v>
                </c:pt>
                <c:pt idx="222">
                  <c:v>386</c:v>
                </c:pt>
                <c:pt idx="223">
                  <c:v>390</c:v>
                </c:pt>
                <c:pt idx="224">
                  <c:v>356</c:v>
                </c:pt>
                <c:pt idx="225">
                  <c:v>327</c:v>
                </c:pt>
                <c:pt idx="226">
                  <c:v>310</c:v>
                </c:pt>
                <c:pt idx="227">
                  <c:v>292</c:v>
                </c:pt>
                <c:pt idx="228">
                  <c:v>289</c:v>
                </c:pt>
                <c:pt idx="229">
                  <c:v>287</c:v>
                </c:pt>
                <c:pt idx="230">
                  <c:v>299</c:v>
                </c:pt>
                <c:pt idx="231">
                  <c:v>287</c:v>
                </c:pt>
                <c:pt idx="232">
                  <c:v>256</c:v>
                </c:pt>
                <c:pt idx="233">
                  <c:v>237</c:v>
                </c:pt>
                <c:pt idx="234">
                  <c:v>231</c:v>
                </c:pt>
                <c:pt idx="235">
                  <c:v>218</c:v>
                </c:pt>
                <c:pt idx="236">
                  <c:v>215</c:v>
                </c:pt>
                <c:pt idx="237">
                  <c:v>218</c:v>
                </c:pt>
                <c:pt idx="238">
                  <c:v>212</c:v>
                </c:pt>
                <c:pt idx="239">
                  <c:v>206</c:v>
                </c:pt>
                <c:pt idx="240">
                  <c:v>201</c:v>
                </c:pt>
                <c:pt idx="241">
                  <c:v>197</c:v>
                </c:pt>
                <c:pt idx="242">
                  <c:v>187</c:v>
                </c:pt>
                <c:pt idx="243">
                  <c:v>186</c:v>
                </c:pt>
                <c:pt idx="244">
                  <c:v>188</c:v>
                </c:pt>
                <c:pt idx="245">
                  <c:v>174</c:v>
                </c:pt>
                <c:pt idx="246">
                  <c:v>166</c:v>
                </c:pt>
                <c:pt idx="247">
                  <c:v>161</c:v>
                </c:pt>
                <c:pt idx="248">
                  <c:v>158</c:v>
                </c:pt>
                <c:pt idx="249">
                  <c:v>147</c:v>
                </c:pt>
                <c:pt idx="250">
                  <c:v>148</c:v>
                </c:pt>
                <c:pt idx="251">
                  <c:v>151</c:v>
                </c:pt>
                <c:pt idx="252">
                  <c:v>147</c:v>
                </c:pt>
                <c:pt idx="253">
                  <c:v>140</c:v>
                </c:pt>
                <c:pt idx="254">
                  <c:v>139</c:v>
                </c:pt>
                <c:pt idx="255">
                  <c:v>138</c:v>
                </c:pt>
                <c:pt idx="256">
                  <c:v>133</c:v>
                </c:pt>
                <c:pt idx="257">
                  <c:v>132</c:v>
                </c:pt>
                <c:pt idx="258">
                  <c:v>135</c:v>
                </c:pt>
                <c:pt idx="259">
                  <c:v>132</c:v>
                </c:pt>
                <c:pt idx="260">
                  <c:v>129</c:v>
                </c:pt>
                <c:pt idx="261">
                  <c:v>127</c:v>
                </c:pt>
                <c:pt idx="262">
                  <c:v>126</c:v>
                </c:pt>
                <c:pt idx="263">
                  <c:v>122</c:v>
                </c:pt>
                <c:pt idx="264">
                  <c:v>121</c:v>
                </c:pt>
                <c:pt idx="265">
                  <c:v>124</c:v>
                </c:pt>
                <c:pt idx="266">
                  <c:v>121</c:v>
                </c:pt>
                <c:pt idx="267">
                  <c:v>117</c:v>
                </c:pt>
                <c:pt idx="268">
                  <c:v>114</c:v>
                </c:pt>
                <c:pt idx="269">
                  <c:v>111</c:v>
                </c:pt>
                <c:pt idx="270">
                  <c:v>109</c:v>
                </c:pt>
                <c:pt idx="271">
                  <c:v>106</c:v>
                </c:pt>
                <c:pt idx="272">
                  <c:v>104</c:v>
                </c:pt>
                <c:pt idx="273">
                  <c:v>100</c:v>
                </c:pt>
                <c:pt idx="274">
                  <c:v>100</c:v>
                </c:pt>
                <c:pt idx="275">
                  <c:v>95</c:v>
                </c:pt>
                <c:pt idx="276">
                  <c:v>90</c:v>
                </c:pt>
                <c:pt idx="277">
                  <c:v>89</c:v>
                </c:pt>
                <c:pt idx="278">
                  <c:v>89</c:v>
                </c:pt>
                <c:pt idx="279">
                  <c:v>88</c:v>
                </c:pt>
                <c:pt idx="280">
                  <c:v>86</c:v>
                </c:pt>
                <c:pt idx="281">
                  <c:v>83</c:v>
                </c:pt>
                <c:pt idx="282">
                  <c:v>82</c:v>
                </c:pt>
                <c:pt idx="283">
                  <c:v>83</c:v>
                </c:pt>
                <c:pt idx="284">
                  <c:v>80</c:v>
                </c:pt>
                <c:pt idx="285">
                  <c:v>80</c:v>
                </c:pt>
                <c:pt idx="286">
                  <c:v>80</c:v>
                </c:pt>
                <c:pt idx="287">
                  <c:v>80</c:v>
                </c:pt>
                <c:pt idx="288">
                  <c:v>80</c:v>
                </c:pt>
                <c:pt idx="289">
                  <c:v>79</c:v>
                </c:pt>
                <c:pt idx="290">
                  <c:v>79</c:v>
                </c:pt>
                <c:pt idx="291">
                  <c:v>79</c:v>
                </c:pt>
                <c:pt idx="292">
                  <c:v>79</c:v>
                </c:pt>
                <c:pt idx="293">
                  <c:v>79</c:v>
                </c:pt>
                <c:pt idx="294">
                  <c:v>79</c:v>
                </c:pt>
                <c:pt idx="295">
                  <c:v>80</c:v>
                </c:pt>
                <c:pt idx="296">
                  <c:v>80</c:v>
                </c:pt>
                <c:pt idx="297">
                  <c:v>78</c:v>
                </c:pt>
                <c:pt idx="298">
                  <c:v>78</c:v>
                </c:pt>
                <c:pt idx="299">
                  <c:v>78</c:v>
                </c:pt>
                <c:pt idx="300">
                  <c:v>78</c:v>
                </c:pt>
                <c:pt idx="301">
                  <c:v>78</c:v>
                </c:pt>
                <c:pt idx="302">
                  <c:v>78</c:v>
                </c:pt>
                <c:pt idx="303">
                  <c:v>79</c:v>
                </c:pt>
                <c:pt idx="304">
                  <c:v>77</c:v>
                </c:pt>
                <c:pt idx="305">
                  <c:v>77</c:v>
                </c:pt>
                <c:pt idx="306">
                  <c:v>78</c:v>
                </c:pt>
                <c:pt idx="307">
                  <c:v>78</c:v>
                </c:pt>
                <c:pt idx="308">
                  <c:v>78</c:v>
                </c:pt>
                <c:pt idx="309">
                  <c:v>78</c:v>
                </c:pt>
                <c:pt idx="310">
                  <c:v>77</c:v>
                </c:pt>
                <c:pt idx="311">
                  <c:v>77</c:v>
                </c:pt>
                <c:pt idx="312">
                  <c:v>77</c:v>
                </c:pt>
                <c:pt idx="313">
                  <c:v>78</c:v>
                </c:pt>
                <c:pt idx="314">
                  <c:v>78</c:v>
                </c:pt>
                <c:pt idx="315">
                  <c:v>78</c:v>
                </c:pt>
                <c:pt idx="316">
                  <c:v>78</c:v>
                </c:pt>
                <c:pt idx="317">
                  <c:v>78</c:v>
                </c:pt>
                <c:pt idx="318">
                  <c:v>77</c:v>
                </c:pt>
                <c:pt idx="319">
                  <c:v>77</c:v>
                </c:pt>
                <c:pt idx="320">
                  <c:v>77</c:v>
                </c:pt>
                <c:pt idx="321">
                  <c:v>77</c:v>
                </c:pt>
                <c:pt idx="322">
                  <c:v>76</c:v>
                </c:pt>
                <c:pt idx="323">
                  <c:v>77</c:v>
                </c:pt>
                <c:pt idx="324">
                  <c:v>76</c:v>
                </c:pt>
                <c:pt idx="325">
                  <c:v>76</c:v>
                </c:pt>
                <c:pt idx="326">
                  <c:v>76</c:v>
                </c:pt>
                <c:pt idx="327">
                  <c:v>75</c:v>
                </c:pt>
                <c:pt idx="328">
                  <c:v>74</c:v>
                </c:pt>
                <c:pt idx="329">
                  <c:v>75</c:v>
                </c:pt>
                <c:pt idx="330">
                  <c:v>76</c:v>
                </c:pt>
                <c:pt idx="331">
                  <c:v>76</c:v>
                </c:pt>
                <c:pt idx="332">
                  <c:v>75</c:v>
                </c:pt>
                <c:pt idx="333">
                  <c:v>75</c:v>
                </c:pt>
                <c:pt idx="334">
                  <c:v>75</c:v>
                </c:pt>
                <c:pt idx="335">
                  <c:v>75</c:v>
                </c:pt>
                <c:pt idx="336">
                  <c:v>74</c:v>
                </c:pt>
                <c:pt idx="337">
                  <c:v>74</c:v>
                </c:pt>
                <c:pt idx="338">
                  <c:v>73</c:v>
                </c:pt>
                <c:pt idx="339">
                  <c:v>73</c:v>
                </c:pt>
                <c:pt idx="340">
                  <c:v>73</c:v>
                </c:pt>
                <c:pt idx="341">
                  <c:v>74</c:v>
                </c:pt>
                <c:pt idx="342">
                  <c:v>74</c:v>
                </c:pt>
                <c:pt idx="343">
                  <c:v>73</c:v>
                </c:pt>
                <c:pt idx="344">
                  <c:v>73</c:v>
                </c:pt>
                <c:pt idx="345">
                  <c:v>73</c:v>
                </c:pt>
                <c:pt idx="346">
                  <c:v>73</c:v>
                </c:pt>
                <c:pt idx="347">
                  <c:v>73</c:v>
                </c:pt>
                <c:pt idx="348">
                  <c:v>73</c:v>
                </c:pt>
                <c:pt idx="349">
                  <c:v>74</c:v>
                </c:pt>
                <c:pt idx="350">
                  <c:v>74</c:v>
                </c:pt>
                <c:pt idx="351">
                  <c:v>74</c:v>
                </c:pt>
                <c:pt idx="352">
                  <c:v>75</c:v>
                </c:pt>
                <c:pt idx="353">
                  <c:v>74</c:v>
                </c:pt>
                <c:pt idx="354">
                  <c:v>74</c:v>
                </c:pt>
                <c:pt idx="355">
                  <c:v>74</c:v>
                </c:pt>
                <c:pt idx="356">
                  <c:v>77</c:v>
                </c:pt>
                <c:pt idx="357">
                  <c:v>77</c:v>
                </c:pt>
                <c:pt idx="358">
                  <c:v>77</c:v>
                </c:pt>
                <c:pt idx="359">
                  <c:v>77</c:v>
                </c:pt>
                <c:pt idx="360">
                  <c:v>78</c:v>
                </c:pt>
                <c:pt idx="361">
                  <c:v>77</c:v>
                </c:pt>
                <c:pt idx="362">
                  <c:v>77</c:v>
                </c:pt>
                <c:pt idx="363">
                  <c:v>77</c:v>
                </c:pt>
                <c:pt idx="364">
                  <c:v>77</c:v>
                </c:pt>
                <c:pt idx="365">
                  <c:v>80</c:v>
                </c:pt>
                <c:pt idx="366">
                  <c:v>85</c:v>
                </c:pt>
                <c:pt idx="367">
                  <c:v>88</c:v>
                </c:pt>
                <c:pt idx="368">
                  <c:v>89</c:v>
                </c:pt>
                <c:pt idx="369">
                  <c:v>88</c:v>
                </c:pt>
                <c:pt idx="370">
                  <c:v>93</c:v>
                </c:pt>
                <c:pt idx="371">
                  <c:v>91</c:v>
                </c:pt>
                <c:pt idx="372">
                  <c:v>92</c:v>
                </c:pt>
                <c:pt idx="373">
                  <c:v>93</c:v>
                </c:pt>
                <c:pt idx="374">
                  <c:v>93</c:v>
                </c:pt>
                <c:pt idx="375">
                  <c:v>92</c:v>
                </c:pt>
                <c:pt idx="376">
                  <c:v>91</c:v>
                </c:pt>
                <c:pt idx="377">
                  <c:v>92</c:v>
                </c:pt>
                <c:pt idx="378">
                  <c:v>93</c:v>
                </c:pt>
                <c:pt idx="379">
                  <c:v>92</c:v>
                </c:pt>
                <c:pt idx="380">
                  <c:v>91</c:v>
                </c:pt>
                <c:pt idx="381">
                  <c:v>88</c:v>
                </c:pt>
                <c:pt idx="382">
                  <c:v>86</c:v>
                </c:pt>
                <c:pt idx="383">
                  <c:v>86</c:v>
                </c:pt>
                <c:pt idx="384">
                  <c:v>91</c:v>
                </c:pt>
                <c:pt idx="385">
                  <c:v>89</c:v>
                </c:pt>
                <c:pt idx="386">
                  <c:v>90</c:v>
                </c:pt>
                <c:pt idx="387">
                  <c:v>88</c:v>
                </c:pt>
                <c:pt idx="388">
                  <c:v>88</c:v>
                </c:pt>
                <c:pt idx="389">
                  <c:v>89</c:v>
                </c:pt>
                <c:pt idx="390">
                  <c:v>89</c:v>
                </c:pt>
                <c:pt idx="391">
                  <c:v>95</c:v>
                </c:pt>
                <c:pt idx="392">
                  <c:v>95</c:v>
                </c:pt>
                <c:pt idx="393">
                  <c:v>101</c:v>
                </c:pt>
                <c:pt idx="394">
                  <c:v>102</c:v>
                </c:pt>
                <c:pt idx="395">
                  <c:v>104</c:v>
                </c:pt>
                <c:pt idx="396">
                  <c:v>104</c:v>
                </c:pt>
                <c:pt idx="397">
                  <c:v>104</c:v>
                </c:pt>
                <c:pt idx="398">
                  <c:v>108</c:v>
                </c:pt>
                <c:pt idx="399">
                  <c:v>112</c:v>
                </c:pt>
                <c:pt idx="400">
                  <c:v>120</c:v>
                </c:pt>
                <c:pt idx="401">
                  <c:v>120</c:v>
                </c:pt>
                <c:pt idx="402">
                  <c:v>146</c:v>
                </c:pt>
                <c:pt idx="403">
                  <c:v>147</c:v>
                </c:pt>
                <c:pt idx="404">
                  <c:v>145</c:v>
                </c:pt>
                <c:pt idx="405">
                  <c:v>148</c:v>
                </c:pt>
                <c:pt idx="406">
                  <c:v>144</c:v>
                </c:pt>
                <c:pt idx="407">
                  <c:v>163</c:v>
                </c:pt>
                <c:pt idx="408">
                  <c:v>161</c:v>
                </c:pt>
                <c:pt idx="409">
                  <c:v>166</c:v>
                </c:pt>
                <c:pt idx="410">
                  <c:v>166</c:v>
                </c:pt>
                <c:pt idx="411">
                  <c:v>166</c:v>
                </c:pt>
                <c:pt idx="412">
                  <c:v>182</c:v>
                </c:pt>
                <c:pt idx="413">
                  <c:v>185</c:v>
                </c:pt>
                <c:pt idx="414">
                  <c:v>188</c:v>
                </c:pt>
                <c:pt idx="415">
                  <c:v>191</c:v>
                </c:pt>
                <c:pt idx="416">
                  <c:v>180</c:v>
                </c:pt>
                <c:pt idx="417">
                  <c:v>175</c:v>
                </c:pt>
                <c:pt idx="418">
                  <c:v>176</c:v>
                </c:pt>
                <c:pt idx="419">
                  <c:v>205</c:v>
                </c:pt>
                <c:pt idx="420">
                  <c:v>215</c:v>
                </c:pt>
                <c:pt idx="421">
                  <c:v>234</c:v>
                </c:pt>
                <c:pt idx="422">
                  <c:v>219</c:v>
                </c:pt>
                <c:pt idx="423">
                  <c:v>242</c:v>
                </c:pt>
                <c:pt idx="424">
                  <c:v>245</c:v>
                </c:pt>
                <c:pt idx="425">
                  <c:v>255</c:v>
                </c:pt>
                <c:pt idx="426">
                  <c:v>329</c:v>
                </c:pt>
                <c:pt idx="427">
                  <c:v>347</c:v>
                </c:pt>
                <c:pt idx="428">
                  <c:v>364</c:v>
                </c:pt>
                <c:pt idx="429">
                  <c:v>416</c:v>
                </c:pt>
                <c:pt idx="430">
                  <c:v>450</c:v>
                </c:pt>
                <c:pt idx="431">
                  <c:v>449</c:v>
                </c:pt>
                <c:pt idx="432">
                  <c:v>449</c:v>
                </c:pt>
                <c:pt idx="433">
                  <c:v>503</c:v>
                </c:pt>
                <c:pt idx="434">
                  <c:v>525</c:v>
                </c:pt>
                <c:pt idx="435">
                  <c:v>550</c:v>
                </c:pt>
                <c:pt idx="436">
                  <c:v>585</c:v>
                </c:pt>
                <c:pt idx="437">
                  <c:v>624</c:v>
                </c:pt>
                <c:pt idx="438">
                  <c:v>633</c:v>
                </c:pt>
                <c:pt idx="439">
                  <c:v>635</c:v>
                </c:pt>
                <c:pt idx="440">
                  <c:v>693</c:v>
                </c:pt>
                <c:pt idx="441">
                  <c:v>703</c:v>
                </c:pt>
                <c:pt idx="442">
                  <c:v>698</c:v>
                </c:pt>
                <c:pt idx="443">
                  <c:v>749</c:v>
                </c:pt>
                <c:pt idx="444">
                  <c:v>861</c:v>
                </c:pt>
                <c:pt idx="445">
                  <c:v>854</c:v>
                </c:pt>
                <c:pt idx="446">
                  <c:v>854</c:v>
                </c:pt>
                <c:pt idx="447">
                  <c:v>918</c:v>
                </c:pt>
                <c:pt idx="448">
                  <c:v>957</c:v>
                </c:pt>
                <c:pt idx="449">
                  <c:v>1000</c:v>
                </c:pt>
                <c:pt idx="450">
                  <c:v>1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C7-418F-9894-CC9725FB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4139039"/>
        <c:axId val="595872255"/>
      </c:lineChart>
      <c:dateAx>
        <c:axId val="76413903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5872255"/>
        <c:crosses val="autoZero"/>
        <c:auto val="1"/>
        <c:lblOffset val="100"/>
        <c:baseTimeUnit val="days"/>
      </c:dateAx>
      <c:valAx>
        <c:axId val="595872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6413903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Úmrtí klientů podle</a:t>
            </a:r>
            <a:r>
              <a:rPr lang="cs-CZ" baseline="0" dirty="0">
                <a:solidFill>
                  <a:schemeClr val="tx1"/>
                </a:solidFill>
              </a:rPr>
              <a:t> věku</a:t>
            </a:r>
            <a:endParaRPr lang="cs-CZ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klientů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</c:v>
                </c:pt>
                <c:pt idx="31">
                  <c:v>1</c:v>
                </c:pt>
                <c:pt idx="32">
                  <c:v>1</c:v>
                </c:pt>
                <c:pt idx="33">
                  <c:v>0</c:v>
                </c:pt>
                <c:pt idx="34">
                  <c:v>1</c:v>
                </c:pt>
                <c:pt idx="35">
                  <c:v>0</c:v>
                </c:pt>
                <c:pt idx="36">
                  <c:v>3</c:v>
                </c:pt>
                <c:pt idx="37">
                  <c:v>1</c:v>
                </c:pt>
                <c:pt idx="38">
                  <c:v>3</c:v>
                </c:pt>
                <c:pt idx="39">
                  <c:v>0</c:v>
                </c:pt>
                <c:pt idx="40">
                  <c:v>2</c:v>
                </c:pt>
                <c:pt idx="41">
                  <c:v>2</c:v>
                </c:pt>
                <c:pt idx="42">
                  <c:v>0</c:v>
                </c:pt>
                <c:pt idx="43">
                  <c:v>1</c:v>
                </c:pt>
                <c:pt idx="44">
                  <c:v>2</c:v>
                </c:pt>
                <c:pt idx="45">
                  <c:v>5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5</c:v>
                </c:pt>
                <c:pt idx="50">
                  <c:v>3</c:v>
                </c:pt>
                <c:pt idx="51">
                  <c:v>3</c:v>
                </c:pt>
                <c:pt idx="52">
                  <c:v>6</c:v>
                </c:pt>
                <c:pt idx="53">
                  <c:v>3</c:v>
                </c:pt>
                <c:pt idx="54">
                  <c:v>10</c:v>
                </c:pt>
                <c:pt idx="55">
                  <c:v>10</c:v>
                </c:pt>
                <c:pt idx="56">
                  <c:v>16</c:v>
                </c:pt>
                <c:pt idx="57">
                  <c:v>8</c:v>
                </c:pt>
                <c:pt idx="58">
                  <c:v>16</c:v>
                </c:pt>
                <c:pt idx="59">
                  <c:v>19</c:v>
                </c:pt>
                <c:pt idx="60">
                  <c:v>20</c:v>
                </c:pt>
                <c:pt idx="61">
                  <c:v>22</c:v>
                </c:pt>
                <c:pt idx="62">
                  <c:v>31</c:v>
                </c:pt>
                <c:pt idx="63">
                  <c:v>29</c:v>
                </c:pt>
                <c:pt idx="64">
                  <c:v>38</c:v>
                </c:pt>
                <c:pt idx="65">
                  <c:v>47</c:v>
                </c:pt>
                <c:pt idx="66">
                  <c:v>34</c:v>
                </c:pt>
                <c:pt idx="67">
                  <c:v>51</c:v>
                </c:pt>
                <c:pt idx="68">
                  <c:v>61</c:v>
                </c:pt>
                <c:pt idx="69">
                  <c:v>73</c:v>
                </c:pt>
                <c:pt idx="70">
                  <c:v>60</c:v>
                </c:pt>
                <c:pt idx="71">
                  <c:v>82</c:v>
                </c:pt>
                <c:pt idx="72">
                  <c:v>80</c:v>
                </c:pt>
                <c:pt idx="73">
                  <c:v>99</c:v>
                </c:pt>
                <c:pt idx="74">
                  <c:v>109</c:v>
                </c:pt>
                <c:pt idx="75">
                  <c:v>111</c:v>
                </c:pt>
                <c:pt idx="76">
                  <c:v>123</c:v>
                </c:pt>
                <c:pt idx="77">
                  <c:v>104</c:v>
                </c:pt>
                <c:pt idx="78">
                  <c:v>126</c:v>
                </c:pt>
                <c:pt idx="79">
                  <c:v>133</c:v>
                </c:pt>
                <c:pt idx="80">
                  <c:v>149</c:v>
                </c:pt>
                <c:pt idx="81">
                  <c:v>177</c:v>
                </c:pt>
                <c:pt idx="82">
                  <c:v>156</c:v>
                </c:pt>
                <c:pt idx="83">
                  <c:v>192</c:v>
                </c:pt>
                <c:pt idx="84">
                  <c:v>191</c:v>
                </c:pt>
                <c:pt idx="85">
                  <c:v>177</c:v>
                </c:pt>
                <c:pt idx="86">
                  <c:v>173</c:v>
                </c:pt>
                <c:pt idx="87">
                  <c:v>150</c:v>
                </c:pt>
                <c:pt idx="88">
                  <c:v>100</c:v>
                </c:pt>
                <c:pt idx="89">
                  <c:v>88</c:v>
                </c:pt>
                <c:pt idx="90">
                  <c:v>62</c:v>
                </c:pt>
                <c:pt idx="91">
                  <c:v>57</c:v>
                </c:pt>
                <c:pt idx="92">
                  <c:v>51</c:v>
                </c:pt>
                <c:pt idx="93">
                  <c:v>28</c:v>
                </c:pt>
                <c:pt idx="94">
                  <c:v>22</c:v>
                </c:pt>
                <c:pt idx="95">
                  <c:v>9</c:v>
                </c:pt>
                <c:pt idx="96">
                  <c:v>4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A-4DA2-A610-EEBC9E60C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>
                <a:solidFill>
                  <a:schemeClr val="tx1"/>
                </a:solidFill>
              </a:rPr>
              <a:t>Pozitivní klienti podle věku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102</c:f>
              <c:numCache>
                <c:formatCode>General</c:formatCode>
                <c:ptCount val="101"/>
                <c:pt idx="0">
                  <c:v>4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  <c:pt idx="25">
                  <c:v>30</c:v>
                </c:pt>
                <c:pt idx="26">
                  <c:v>31</c:v>
                </c:pt>
                <c:pt idx="27">
                  <c:v>32</c:v>
                </c:pt>
                <c:pt idx="28">
                  <c:v>33</c:v>
                </c:pt>
                <c:pt idx="29">
                  <c:v>34</c:v>
                </c:pt>
                <c:pt idx="30">
                  <c:v>35</c:v>
                </c:pt>
                <c:pt idx="31">
                  <c:v>36</c:v>
                </c:pt>
                <c:pt idx="32">
                  <c:v>37</c:v>
                </c:pt>
                <c:pt idx="33">
                  <c:v>38</c:v>
                </c:pt>
                <c:pt idx="34">
                  <c:v>39</c:v>
                </c:pt>
                <c:pt idx="35">
                  <c:v>40</c:v>
                </c:pt>
                <c:pt idx="36">
                  <c:v>41</c:v>
                </c:pt>
                <c:pt idx="37">
                  <c:v>42</c:v>
                </c:pt>
                <c:pt idx="38">
                  <c:v>43</c:v>
                </c:pt>
                <c:pt idx="39">
                  <c:v>44</c:v>
                </c:pt>
                <c:pt idx="40">
                  <c:v>45</c:v>
                </c:pt>
                <c:pt idx="41">
                  <c:v>46</c:v>
                </c:pt>
                <c:pt idx="42">
                  <c:v>47</c:v>
                </c:pt>
                <c:pt idx="43">
                  <c:v>48</c:v>
                </c:pt>
                <c:pt idx="44">
                  <c:v>49</c:v>
                </c:pt>
                <c:pt idx="45">
                  <c:v>50</c:v>
                </c:pt>
                <c:pt idx="46">
                  <c:v>51</c:v>
                </c:pt>
                <c:pt idx="47">
                  <c:v>52</c:v>
                </c:pt>
                <c:pt idx="48">
                  <c:v>53</c:v>
                </c:pt>
                <c:pt idx="49">
                  <c:v>54</c:v>
                </c:pt>
                <c:pt idx="50">
                  <c:v>55</c:v>
                </c:pt>
                <c:pt idx="51">
                  <c:v>56</c:v>
                </c:pt>
                <c:pt idx="52">
                  <c:v>57</c:v>
                </c:pt>
                <c:pt idx="53">
                  <c:v>58</c:v>
                </c:pt>
                <c:pt idx="54">
                  <c:v>59</c:v>
                </c:pt>
                <c:pt idx="55">
                  <c:v>60</c:v>
                </c:pt>
                <c:pt idx="56">
                  <c:v>61</c:v>
                </c:pt>
                <c:pt idx="57">
                  <c:v>62</c:v>
                </c:pt>
                <c:pt idx="58">
                  <c:v>63</c:v>
                </c:pt>
                <c:pt idx="59">
                  <c:v>64</c:v>
                </c:pt>
                <c:pt idx="60">
                  <c:v>65</c:v>
                </c:pt>
                <c:pt idx="61">
                  <c:v>66</c:v>
                </c:pt>
                <c:pt idx="62">
                  <c:v>67</c:v>
                </c:pt>
                <c:pt idx="63">
                  <c:v>68</c:v>
                </c:pt>
                <c:pt idx="64">
                  <c:v>69</c:v>
                </c:pt>
                <c:pt idx="65">
                  <c:v>70</c:v>
                </c:pt>
                <c:pt idx="66">
                  <c:v>71</c:v>
                </c:pt>
                <c:pt idx="67">
                  <c:v>72</c:v>
                </c:pt>
                <c:pt idx="68">
                  <c:v>73</c:v>
                </c:pt>
                <c:pt idx="69">
                  <c:v>74</c:v>
                </c:pt>
                <c:pt idx="70">
                  <c:v>75</c:v>
                </c:pt>
                <c:pt idx="71">
                  <c:v>76</c:v>
                </c:pt>
                <c:pt idx="72">
                  <c:v>77</c:v>
                </c:pt>
                <c:pt idx="73">
                  <c:v>78</c:v>
                </c:pt>
                <c:pt idx="74">
                  <c:v>79</c:v>
                </c:pt>
                <c:pt idx="75">
                  <c:v>80</c:v>
                </c:pt>
                <c:pt idx="76">
                  <c:v>81</c:v>
                </c:pt>
                <c:pt idx="77">
                  <c:v>82</c:v>
                </c:pt>
                <c:pt idx="78">
                  <c:v>83</c:v>
                </c:pt>
                <c:pt idx="79">
                  <c:v>84</c:v>
                </c:pt>
                <c:pt idx="80">
                  <c:v>85</c:v>
                </c:pt>
                <c:pt idx="81">
                  <c:v>86</c:v>
                </c:pt>
                <c:pt idx="82">
                  <c:v>87</c:v>
                </c:pt>
                <c:pt idx="83">
                  <c:v>88</c:v>
                </c:pt>
                <c:pt idx="84">
                  <c:v>89</c:v>
                </c:pt>
                <c:pt idx="85">
                  <c:v>90</c:v>
                </c:pt>
                <c:pt idx="86">
                  <c:v>91</c:v>
                </c:pt>
                <c:pt idx="87">
                  <c:v>92</c:v>
                </c:pt>
                <c:pt idx="88">
                  <c:v>93</c:v>
                </c:pt>
                <c:pt idx="89">
                  <c:v>94</c:v>
                </c:pt>
                <c:pt idx="90">
                  <c:v>95</c:v>
                </c:pt>
                <c:pt idx="91">
                  <c:v>96</c:v>
                </c:pt>
                <c:pt idx="92">
                  <c:v>97</c:v>
                </c:pt>
                <c:pt idx="93">
                  <c:v>98</c:v>
                </c:pt>
                <c:pt idx="94">
                  <c:v>99</c:v>
                </c:pt>
                <c:pt idx="95">
                  <c:v>100</c:v>
                </c:pt>
                <c:pt idx="96">
                  <c:v>101</c:v>
                </c:pt>
                <c:pt idx="97">
                  <c:v>102</c:v>
                </c:pt>
                <c:pt idx="98">
                  <c:v>103</c:v>
                </c:pt>
                <c:pt idx="99">
                  <c:v>104</c:v>
                </c:pt>
                <c:pt idx="100">
                  <c:v>107</c:v>
                </c:pt>
              </c:numCache>
            </c:numRef>
          </c:cat>
          <c:val>
            <c:numRef>
              <c:f>List1!$B$2:$B$102</c:f>
              <c:numCache>
                <c:formatCode>General</c:formatCode>
                <c:ptCount val="101"/>
                <c:pt idx="0">
                  <c:v>1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6</c:v>
                </c:pt>
                <c:pt idx="5">
                  <c:v>2</c:v>
                </c:pt>
                <c:pt idx="6">
                  <c:v>13</c:v>
                </c:pt>
                <c:pt idx="7">
                  <c:v>12</c:v>
                </c:pt>
                <c:pt idx="8">
                  <c:v>18</c:v>
                </c:pt>
                <c:pt idx="9">
                  <c:v>17</c:v>
                </c:pt>
                <c:pt idx="10">
                  <c:v>12</c:v>
                </c:pt>
                <c:pt idx="11">
                  <c:v>27</c:v>
                </c:pt>
                <c:pt idx="12">
                  <c:v>12</c:v>
                </c:pt>
                <c:pt idx="13">
                  <c:v>21</c:v>
                </c:pt>
                <c:pt idx="14">
                  <c:v>22</c:v>
                </c:pt>
                <c:pt idx="15">
                  <c:v>32</c:v>
                </c:pt>
                <c:pt idx="16">
                  <c:v>24</c:v>
                </c:pt>
                <c:pt idx="17">
                  <c:v>24</c:v>
                </c:pt>
                <c:pt idx="18">
                  <c:v>34</c:v>
                </c:pt>
                <c:pt idx="19">
                  <c:v>42</c:v>
                </c:pt>
                <c:pt idx="20">
                  <c:v>48</c:v>
                </c:pt>
                <c:pt idx="21">
                  <c:v>57</c:v>
                </c:pt>
                <c:pt idx="22">
                  <c:v>52</c:v>
                </c:pt>
                <c:pt idx="23">
                  <c:v>69</c:v>
                </c:pt>
                <c:pt idx="24">
                  <c:v>59</c:v>
                </c:pt>
                <c:pt idx="25">
                  <c:v>67</c:v>
                </c:pt>
                <c:pt idx="26">
                  <c:v>78</c:v>
                </c:pt>
                <c:pt idx="27">
                  <c:v>75</c:v>
                </c:pt>
                <c:pt idx="28">
                  <c:v>80</c:v>
                </c:pt>
                <c:pt idx="29">
                  <c:v>91</c:v>
                </c:pt>
                <c:pt idx="30">
                  <c:v>83</c:v>
                </c:pt>
                <c:pt idx="31">
                  <c:v>77</c:v>
                </c:pt>
                <c:pt idx="32">
                  <c:v>91</c:v>
                </c:pt>
                <c:pt idx="33">
                  <c:v>120</c:v>
                </c:pt>
                <c:pt idx="34">
                  <c:v>101</c:v>
                </c:pt>
                <c:pt idx="35">
                  <c:v>121</c:v>
                </c:pt>
                <c:pt idx="36">
                  <c:v>140</c:v>
                </c:pt>
                <c:pt idx="37">
                  <c:v>120</c:v>
                </c:pt>
                <c:pt idx="38">
                  <c:v>126</c:v>
                </c:pt>
                <c:pt idx="39">
                  <c:v>146</c:v>
                </c:pt>
                <c:pt idx="40">
                  <c:v>143</c:v>
                </c:pt>
                <c:pt idx="41">
                  <c:v>144</c:v>
                </c:pt>
                <c:pt idx="42">
                  <c:v>149</c:v>
                </c:pt>
                <c:pt idx="43">
                  <c:v>127</c:v>
                </c:pt>
                <c:pt idx="44">
                  <c:v>129</c:v>
                </c:pt>
                <c:pt idx="45">
                  <c:v>130</c:v>
                </c:pt>
                <c:pt idx="46">
                  <c:v>159</c:v>
                </c:pt>
                <c:pt idx="47">
                  <c:v>119</c:v>
                </c:pt>
                <c:pt idx="48">
                  <c:v>138</c:v>
                </c:pt>
                <c:pt idx="49">
                  <c:v>158</c:v>
                </c:pt>
                <c:pt idx="50">
                  <c:v>176</c:v>
                </c:pt>
                <c:pt idx="51">
                  <c:v>165</c:v>
                </c:pt>
                <c:pt idx="52">
                  <c:v>162</c:v>
                </c:pt>
                <c:pt idx="53">
                  <c:v>139</c:v>
                </c:pt>
                <c:pt idx="54">
                  <c:v>173</c:v>
                </c:pt>
                <c:pt idx="55">
                  <c:v>197</c:v>
                </c:pt>
                <c:pt idx="56">
                  <c:v>202</c:v>
                </c:pt>
                <c:pt idx="57">
                  <c:v>212</c:v>
                </c:pt>
                <c:pt idx="58">
                  <c:v>255</c:v>
                </c:pt>
                <c:pt idx="59">
                  <c:v>285</c:v>
                </c:pt>
                <c:pt idx="60">
                  <c:v>269</c:v>
                </c:pt>
                <c:pt idx="61">
                  <c:v>299</c:v>
                </c:pt>
                <c:pt idx="62">
                  <c:v>315</c:v>
                </c:pt>
                <c:pt idx="63">
                  <c:v>335</c:v>
                </c:pt>
                <c:pt idx="64">
                  <c:v>415</c:v>
                </c:pt>
                <c:pt idx="65">
                  <c:v>416</c:v>
                </c:pt>
                <c:pt idx="66">
                  <c:v>426</c:v>
                </c:pt>
                <c:pt idx="67">
                  <c:v>518</c:v>
                </c:pt>
                <c:pt idx="68">
                  <c:v>563</c:v>
                </c:pt>
                <c:pt idx="69">
                  <c:v>593</c:v>
                </c:pt>
                <c:pt idx="70">
                  <c:v>539</c:v>
                </c:pt>
                <c:pt idx="71">
                  <c:v>683</c:v>
                </c:pt>
                <c:pt idx="72">
                  <c:v>700</c:v>
                </c:pt>
                <c:pt idx="73">
                  <c:v>735</c:v>
                </c:pt>
                <c:pt idx="74">
                  <c:v>790</c:v>
                </c:pt>
                <c:pt idx="75">
                  <c:v>853</c:v>
                </c:pt>
                <c:pt idx="76">
                  <c:v>847</c:v>
                </c:pt>
                <c:pt idx="77">
                  <c:v>871</c:v>
                </c:pt>
                <c:pt idx="78">
                  <c:v>979</c:v>
                </c:pt>
                <c:pt idx="79">
                  <c:v>942</c:v>
                </c:pt>
                <c:pt idx="80">
                  <c:v>1098</c:v>
                </c:pt>
                <c:pt idx="81">
                  <c:v>1124</c:v>
                </c:pt>
                <c:pt idx="82">
                  <c:v>1152</c:v>
                </c:pt>
                <c:pt idx="83">
                  <c:v>1238</c:v>
                </c:pt>
                <c:pt idx="84">
                  <c:v>1166</c:v>
                </c:pt>
                <c:pt idx="85">
                  <c:v>1151</c:v>
                </c:pt>
                <c:pt idx="86">
                  <c:v>999</c:v>
                </c:pt>
                <c:pt idx="87">
                  <c:v>882</c:v>
                </c:pt>
                <c:pt idx="88">
                  <c:v>721</c:v>
                </c:pt>
                <c:pt idx="89">
                  <c:v>510</c:v>
                </c:pt>
                <c:pt idx="90">
                  <c:v>402</c:v>
                </c:pt>
                <c:pt idx="91">
                  <c:v>305</c:v>
                </c:pt>
                <c:pt idx="92">
                  <c:v>229</c:v>
                </c:pt>
                <c:pt idx="93">
                  <c:v>149</c:v>
                </c:pt>
                <c:pt idx="94">
                  <c:v>89</c:v>
                </c:pt>
                <c:pt idx="95">
                  <c:v>44</c:v>
                </c:pt>
                <c:pt idx="96">
                  <c:v>28</c:v>
                </c:pt>
                <c:pt idx="97">
                  <c:v>7</c:v>
                </c:pt>
                <c:pt idx="98">
                  <c:v>5</c:v>
                </c:pt>
                <c:pt idx="99">
                  <c:v>3</c:v>
                </c:pt>
                <c:pt idx="10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F-4290-AA04-A5FA3347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18323535"/>
        <c:axId val="437097648"/>
      </c:barChart>
      <c:catAx>
        <c:axId val="8183235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Vě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7097648"/>
        <c:crosses val="autoZero"/>
        <c:auto val="1"/>
        <c:lblAlgn val="ctr"/>
        <c:lblOffset val="100"/>
        <c:noMultiLvlLbl val="0"/>
      </c:catAx>
      <c:valAx>
        <c:axId val="437097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kli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18323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Sheet1!$B$2:$B$452</c:f>
              <c:numCache>
                <c:formatCode>#\ ##0_ ;\-#\ ##0\ </c:formatCode>
                <c:ptCount val="451"/>
                <c:pt idx="0">
                  <c:v>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3</c:v>
                </c:pt>
                <c:pt idx="12">
                  <c:v>1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</c:v>
                </c:pt>
                <c:pt idx="18">
                  <c:v>1</c:v>
                </c:pt>
                <c:pt idx="19">
                  <c:v>3</c:v>
                </c:pt>
                <c:pt idx="20">
                  <c:v>1</c:v>
                </c:pt>
                <c:pt idx="21">
                  <c:v>0</c:v>
                </c:pt>
                <c:pt idx="22">
                  <c:v>1</c:v>
                </c:pt>
                <c:pt idx="23">
                  <c:v>3</c:v>
                </c:pt>
                <c:pt idx="24">
                  <c:v>1</c:v>
                </c:pt>
                <c:pt idx="25">
                  <c:v>5</c:v>
                </c:pt>
                <c:pt idx="26">
                  <c:v>5</c:v>
                </c:pt>
                <c:pt idx="27">
                  <c:v>3</c:v>
                </c:pt>
                <c:pt idx="28">
                  <c:v>5</c:v>
                </c:pt>
                <c:pt idx="29">
                  <c:v>28</c:v>
                </c:pt>
                <c:pt idx="30">
                  <c:v>30</c:v>
                </c:pt>
                <c:pt idx="31">
                  <c:v>60</c:v>
                </c:pt>
                <c:pt idx="32">
                  <c:v>36</c:v>
                </c:pt>
                <c:pt idx="33">
                  <c:v>54</c:v>
                </c:pt>
                <c:pt idx="34">
                  <c:v>159</c:v>
                </c:pt>
                <c:pt idx="35">
                  <c:v>82</c:v>
                </c:pt>
                <c:pt idx="36">
                  <c:v>45</c:v>
                </c:pt>
                <c:pt idx="37">
                  <c:v>78</c:v>
                </c:pt>
                <c:pt idx="38">
                  <c:v>139</c:v>
                </c:pt>
                <c:pt idx="39">
                  <c:v>30</c:v>
                </c:pt>
                <c:pt idx="40">
                  <c:v>11</c:v>
                </c:pt>
                <c:pt idx="41">
                  <c:v>138</c:v>
                </c:pt>
                <c:pt idx="42">
                  <c:v>222</c:v>
                </c:pt>
                <c:pt idx="43">
                  <c:v>181</c:v>
                </c:pt>
                <c:pt idx="44">
                  <c:v>190</c:v>
                </c:pt>
                <c:pt idx="45">
                  <c:v>205</c:v>
                </c:pt>
                <c:pt idx="46">
                  <c:v>155</c:v>
                </c:pt>
                <c:pt idx="47">
                  <c:v>41</c:v>
                </c:pt>
                <c:pt idx="48">
                  <c:v>242</c:v>
                </c:pt>
                <c:pt idx="49">
                  <c:v>197</c:v>
                </c:pt>
                <c:pt idx="50">
                  <c:v>326</c:v>
                </c:pt>
                <c:pt idx="51">
                  <c:v>227</c:v>
                </c:pt>
                <c:pt idx="52">
                  <c:v>415</c:v>
                </c:pt>
                <c:pt idx="53">
                  <c:v>227</c:v>
                </c:pt>
                <c:pt idx="54">
                  <c:v>195</c:v>
                </c:pt>
                <c:pt idx="55">
                  <c:v>387</c:v>
                </c:pt>
                <c:pt idx="56">
                  <c:v>522</c:v>
                </c:pt>
                <c:pt idx="57">
                  <c:v>260</c:v>
                </c:pt>
                <c:pt idx="58">
                  <c:v>536</c:v>
                </c:pt>
                <c:pt idx="59">
                  <c:v>587</c:v>
                </c:pt>
                <c:pt idx="60">
                  <c:v>336</c:v>
                </c:pt>
                <c:pt idx="61">
                  <c:v>212</c:v>
                </c:pt>
                <c:pt idx="62">
                  <c:v>331</c:v>
                </c:pt>
                <c:pt idx="63">
                  <c:v>332</c:v>
                </c:pt>
                <c:pt idx="64">
                  <c:v>424</c:v>
                </c:pt>
                <c:pt idx="65">
                  <c:v>533</c:v>
                </c:pt>
                <c:pt idx="66">
                  <c:v>487</c:v>
                </c:pt>
                <c:pt idx="67">
                  <c:v>214</c:v>
                </c:pt>
                <c:pt idx="68">
                  <c:v>78</c:v>
                </c:pt>
                <c:pt idx="69">
                  <c:v>202</c:v>
                </c:pt>
                <c:pt idx="70">
                  <c:v>385</c:v>
                </c:pt>
                <c:pt idx="71">
                  <c:v>676</c:v>
                </c:pt>
                <c:pt idx="72">
                  <c:v>498</c:v>
                </c:pt>
                <c:pt idx="73">
                  <c:v>480</c:v>
                </c:pt>
                <c:pt idx="74">
                  <c:v>179</c:v>
                </c:pt>
                <c:pt idx="75">
                  <c:v>164</c:v>
                </c:pt>
                <c:pt idx="76">
                  <c:v>382</c:v>
                </c:pt>
                <c:pt idx="77">
                  <c:v>137</c:v>
                </c:pt>
                <c:pt idx="78">
                  <c:v>269</c:v>
                </c:pt>
                <c:pt idx="79">
                  <c:v>269</c:v>
                </c:pt>
                <c:pt idx="80">
                  <c:v>238</c:v>
                </c:pt>
                <c:pt idx="81">
                  <c:v>94</c:v>
                </c:pt>
                <c:pt idx="82">
                  <c:v>91</c:v>
                </c:pt>
                <c:pt idx="83">
                  <c:v>379</c:v>
                </c:pt>
                <c:pt idx="84">
                  <c:v>198</c:v>
                </c:pt>
                <c:pt idx="85">
                  <c:v>124</c:v>
                </c:pt>
                <c:pt idx="86">
                  <c:v>194</c:v>
                </c:pt>
                <c:pt idx="87">
                  <c:v>139</c:v>
                </c:pt>
                <c:pt idx="88">
                  <c:v>78</c:v>
                </c:pt>
                <c:pt idx="89">
                  <c:v>28</c:v>
                </c:pt>
                <c:pt idx="90">
                  <c:v>215</c:v>
                </c:pt>
                <c:pt idx="91">
                  <c:v>123</c:v>
                </c:pt>
                <c:pt idx="92">
                  <c:v>132</c:v>
                </c:pt>
                <c:pt idx="93">
                  <c:v>132</c:v>
                </c:pt>
                <c:pt idx="94">
                  <c:v>141</c:v>
                </c:pt>
                <c:pt idx="95">
                  <c:v>89</c:v>
                </c:pt>
                <c:pt idx="96">
                  <c:v>20</c:v>
                </c:pt>
                <c:pt idx="97">
                  <c:v>142</c:v>
                </c:pt>
                <c:pt idx="98">
                  <c:v>89</c:v>
                </c:pt>
                <c:pt idx="99">
                  <c:v>141</c:v>
                </c:pt>
                <c:pt idx="100">
                  <c:v>84</c:v>
                </c:pt>
                <c:pt idx="101">
                  <c:v>230</c:v>
                </c:pt>
                <c:pt idx="102">
                  <c:v>67</c:v>
                </c:pt>
                <c:pt idx="103">
                  <c:v>50</c:v>
                </c:pt>
                <c:pt idx="104">
                  <c:v>148</c:v>
                </c:pt>
                <c:pt idx="105">
                  <c:v>133</c:v>
                </c:pt>
                <c:pt idx="106">
                  <c:v>100</c:v>
                </c:pt>
                <c:pt idx="107">
                  <c:v>68</c:v>
                </c:pt>
                <c:pt idx="108">
                  <c:v>215</c:v>
                </c:pt>
                <c:pt idx="109">
                  <c:v>61</c:v>
                </c:pt>
                <c:pt idx="110">
                  <c:v>21</c:v>
                </c:pt>
                <c:pt idx="111">
                  <c:v>178</c:v>
                </c:pt>
                <c:pt idx="112">
                  <c:v>175</c:v>
                </c:pt>
                <c:pt idx="113">
                  <c:v>122</c:v>
                </c:pt>
                <c:pt idx="114">
                  <c:v>18</c:v>
                </c:pt>
                <c:pt idx="115">
                  <c:v>71</c:v>
                </c:pt>
                <c:pt idx="116">
                  <c:v>78</c:v>
                </c:pt>
                <c:pt idx="117">
                  <c:v>97</c:v>
                </c:pt>
                <c:pt idx="118">
                  <c:v>165</c:v>
                </c:pt>
                <c:pt idx="119">
                  <c:v>185</c:v>
                </c:pt>
                <c:pt idx="120">
                  <c:v>144</c:v>
                </c:pt>
                <c:pt idx="121">
                  <c:v>133</c:v>
                </c:pt>
                <c:pt idx="122">
                  <c:v>65</c:v>
                </c:pt>
                <c:pt idx="123">
                  <c:v>59</c:v>
                </c:pt>
                <c:pt idx="124">
                  <c:v>41</c:v>
                </c:pt>
                <c:pt idx="125">
                  <c:v>268</c:v>
                </c:pt>
                <c:pt idx="126">
                  <c:v>152</c:v>
                </c:pt>
                <c:pt idx="127">
                  <c:v>164</c:v>
                </c:pt>
                <c:pt idx="128">
                  <c:v>233</c:v>
                </c:pt>
                <c:pt idx="129">
                  <c:v>185</c:v>
                </c:pt>
                <c:pt idx="130">
                  <c:v>61</c:v>
                </c:pt>
                <c:pt idx="131">
                  <c:v>30</c:v>
                </c:pt>
                <c:pt idx="132">
                  <c:v>238</c:v>
                </c:pt>
                <c:pt idx="133">
                  <c:v>126</c:v>
                </c:pt>
                <c:pt idx="134">
                  <c:v>174</c:v>
                </c:pt>
                <c:pt idx="135">
                  <c:v>97</c:v>
                </c:pt>
                <c:pt idx="136">
                  <c:v>85</c:v>
                </c:pt>
                <c:pt idx="137">
                  <c:v>35</c:v>
                </c:pt>
                <c:pt idx="138">
                  <c:v>45</c:v>
                </c:pt>
                <c:pt idx="139">
                  <c:v>161</c:v>
                </c:pt>
                <c:pt idx="140">
                  <c:v>78</c:v>
                </c:pt>
                <c:pt idx="141">
                  <c:v>146</c:v>
                </c:pt>
                <c:pt idx="142">
                  <c:v>106</c:v>
                </c:pt>
                <c:pt idx="143">
                  <c:v>114</c:v>
                </c:pt>
                <c:pt idx="144">
                  <c:v>53</c:v>
                </c:pt>
                <c:pt idx="145">
                  <c:v>24</c:v>
                </c:pt>
                <c:pt idx="146">
                  <c:v>85</c:v>
                </c:pt>
                <c:pt idx="147">
                  <c:v>41</c:v>
                </c:pt>
                <c:pt idx="148">
                  <c:v>95</c:v>
                </c:pt>
                <c:pt idx="149">
                  <c:v>66</c:v>
                </c:pt>
                <c:pt idx="150">
                  <c:v>37</c:v>
                </c:pt>
                <c:pt idx="151">
                  <c:v>49</c:v>
                </c:pt>
                <c:pt idx="152">
                  <c:v>9</c:v>
                </c:pt>
                <c:pt idx="153">
                  <c:v>105</c:v>
                </c:pt>
                <c:pt idx="154">
                  <c:v>94</c:v>
                </c:pt>
                <c:pt idx="155">
                  <c:v>102</c:v>
                </c:pt>
                <c:pt idx="156">
                  <c:v>82</c:v>
                </c:pt>
                <c:pt idx="157">
                  <c:v>84</c:v>
                </c:pt>
                <c:pt idx="158">
                  <c:v>42</c:v>
                </c:pt>
                <c:pt idx="159">
                  <c:v>16</c:v>
                </c:pt>
                <c:pt idx="160">
                  <c:v>64</c:v>
                </c:pt>
                <c:pt idx="161">
                  <c:v>66</c:v>
                </c:pt>
                <c:pt idx="162">
                  <c:v>67</c:v>
                </c:pt>
                <c:pt idx="163">
                  <c:v>65</c:v>
                </c:pt>
                <c:pt idx="164">
                  <c:v>52</c:v>
                </c:pt>
                <c:pt idx="165">
                  <c:v>8</c:v>
                </c:pt>
                <c:pt idx="166">
                  <c:v>13</c:v>
                </c:pt>
                <c:pt idx="167">
                  <c:v>37</c:v>
                </c:pt>
                <c:pt idx="168">
                  <c:v>18</c:v>
                </c:pt>
                <c:pt idx="169">
                  <c:v>30</c:v>
                </c:pt>
                <c:pt idx="170">
                  <c:v>28</c:v>
                </c:pt>
                <c:pt idx="171">
                  <c:v>26</c:v>
                </c:pt>
                <c:pt idx="172">
                  <c:v>18</c:v>
                </c:pt>
                <c:pt idx="173">
                  <c:v>5</c:v>
                </c:pt>
                <c:pt idx="174">
                  <c:v>90</c:v>
                </c:pt>
                <c:pt idx="175">
                  <c:v>35</c:v>
                </c:pt>
                <c:pt idx="176">
                  <c:v>34</c:v>
                </c:pt>
                <c:pt idx="177">
                  <c:v>46</c:v>
                </c:pt>
                <c:pt idx="178">
                  <c:v>46</c:v>
                </c:pt>
                <c:pt idx="179">
                  <c:v>9</c:v>
                </c:pt>
                <c:pt idx="180">
                  <c:v>3</c:v>
                </c:pt>
                <c:pt idx="181">
                  <c:v>78</c:v>
                </c:pt>
                <c:pt idx="182">
                  <c:v>28</c:v>
                </c:pt>
                <c:pt idx="183">
                  <c:v>46</c:v>
                </c:pt>
                <c:pt idx="184">
                  <c:v>9</c:v>
                </c:pt>
                <c:pt idx="185">
                  <c:v>22</c:v>
                </c:pt>
                <c:pt idx="186">
                  <c:v>5</c:v>
                </c:pt>
                <c:pt idx="187">
                  <c:v>5</c:v>
                </c:pt>
                <c:pt idx="188">
                  <c:v>27</c:v>
                </c:pt>
                <c:pt idx="189">
                  <c:v>72</c:v>
                </c:pt>
                <c:pt idx="190">
                  <c:v>55</c:v>
                </c:pt>
                <c:pt idx="191">
                  <c:v>12</c:v>
                </c:pt>
                <c:pt idx="192">
                  <c:v>25</c:v>
                </c:pt>
                <c:pt idx="193">
                  <c:v>9</c:v>
                </c:pt>
                <c:pt idx="194">
                  <c:v>6</c:v>
                </c:pt>
                <c:pt idx="195">
                  <c:v>26</c:v>
                </c:pt>
                <c:pt idx="196">
                  <c:v>20</c:v>
                </c:pt>
                <c:pt idx="197">
                  <c:v>7</c:v>
                </c:pt>
                <c:pt idx="198">
                  <c:v>37</c:v>
                </c:pt>
                <c:pt idx="199">
                  <c:v>18</c:v>
                </c:pt>
                <c:pt idx="200">
                  <c:v>9</c:v>
                </c:pt>
                <c:pt idx="201">
                  <c:v>4</c:v>
                </c:pt>
                <c:pt idx="202">
                  <c:v>14</c:v>
                </c:pt>
                <c:pt idx="203">
                  <c:v>29</c:v>
                </c:pt>
                <c:pt idx="204">
                  <c:v>19</c:v>
                </c:pt>
                <c:pt idx="205">
                  <c:v>31</c:v>
                </c:pt>
                <c:pt idx="206">
                  <c:v>6</c:v>
                </c:pt>
                <c:pt idx="207">
                  <c:v>3</c:v>
                </c:pt>
                <c:pt idx="208">
                  <c:v>4</c:v>
                </c:pt>
                <c:pt idx="209">
                  <c:v>21</c:v>
                </c:pt>
                <c:pt idx="210">
                  <c:v>10</c:v>
                </c:pt>
                <c:pt idx="211">
                  <c:v>9</c:v>
                </c:pt>
                <c:pt idx="212">
                  <c:v>9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1</c:v>
                </c:pt>
                <c:pt idx="217">
                  <c:v>5</c:v>
                </c:pt>
                <c:pt idx="218">
                  <c:v>18</c:v>
                </c:pt>
                <c:pt idx="219">
                  <c:v>1</c:v>
                </c:pt>
                <c:pt idx="220">
                  <c:v>3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2</c:v>
                </c:pt>
                <c:pt idx="225">
                  <c:v>1</c:v>
                </c:pt>
                <c:pt idx="226">
                  <c:v>3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5</c:v>
                </c:pt>
                <c:pt idx="231">
                  <c:v>4</c:v>
                </c:pt>
                <c:pt idx="232">
                  <c:v>3</c:v>
                </c:pt>
                <c:pt idx="233">
                  <c:v>9</c:v>
                </c:pt>
                <c:pt idx="234">
                  <c:v>4</c:v>
                </c:pt>
                <c:pt idx="235">
                  <c:v>1</c:v>
                </c:pt>
                <c:pt idx="236">
                  <c:v>0</c:v>
                </c:pt>
                <c:pt idx="237">
                  <c:v>1</c:v>
                </c:pt>
                <c:pt idx="238">
                  <c:v>3</c:v>
                </c:pt>
                <c:pt idx="239">
                  <c:v>1</c:v>
                </c:pt>
                <c:pt idx="240">
                  <c:v>2</c:v>
                </c:pt>
                <c:pt idx="241">
                  <c:v>1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2</c:v>
                </c:pt>
                <c:pt idx="247">
                  <c:v>0</c:v>
                </c:pt>
                <c:pt idx="248">
                  <c:v>1</c:v>
                </c:pt>
                <c:pt idx="249">
                  <c:v>0</c:v>
                </c:pt>
                <c:pt idx="250">
                  <c:v>3</c:v>
                </c:pt>
                <c:pt idx="251">
                  <c:v>5</c:v>
                </c:pt>
                <c:pt idx="252">
                  <c:v>2</c:v>
                </c:pt>
                <c:pt idx="253">
                  <c:v>0</c:v>
                </c:pt>
                <c:pt idx="254">
                  <c:v>2</c:v>
                </c:pt>
                <c:pt idx="255">
                  <c:v>3</c:v>
                </c:pt>
                <c:pt idx="256">
                  <c:v>1</c:v>
                </c:pt>
                <c:pt idx="257">
                  <c:v>0</c:v>
                </c:pt>
                <c:pt idx="258">
                  <c:v>3</c:v>
                </c:pt>
                <c:pt idx="259">
                  <c:v>0</c:v>
                </c:pt>
                <c:pt idx="260">
                  <c:v>2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2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1</c:v>
                </c:pt>
                <c:pt idx="366">
                  <c:v>4</c:v>
                </c:pt>
                <c:pt idx="367">
                  <c:v>2</c:v>
                </c:pt>
                <c:pt idx="368">
                  <c:v>1</c:v>
                </c:pt>
                <c:pt idx="369">
                  <c:v>0</c:v>
                </c:pt>
                <c:pt idx="370">
                  <c:v>4</c:v>
                </c:pt>
                <c:pt idx="371">
                  <c:v>0</c:v>
                </c:pt>
                <c:pt idx="372">
                  <c:v>0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1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3</c:v>
                </c:pt>
                <c:pt idx="386">
                  <c:v>1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2</c:v>
                </c:pt>
                <c:pt idx="392">
                  <c:v>0</c:v>
                </c:pt>
                <c:pt idx="393">
                  <c:v>1</c:v>
                </c:pt>
                <c:pt idx="394">
                  <c:v>0</c:v>
                </c:pt>
                <c:pt idx="395">
                  <c:v>1</c:v>
                </c:pt>
                <c:pt idx="396">
                  <c:v>1</c:v>
                </c:pt>
                <c:pt idx="397">
                  <c:v>1</c:v>
                </c:pt>
                <c:pt idx="398">
                  <c:v>2</c:v>
                </c:pt>
                <c:pt idx="399">
                  <c:v>2</c:v>
                </c:pt>
                <c:pt idx="400">
                  <c:v>11</c:v>
                </c:pt>
                <c:pt idx="401">
                  <c:v>2</c:v>
                </c:pt>
                <c:pt idx="402">
                  <c:v>25</c:v>
                </c:pt>
                <c:pt idx="403">
                  <c:v>1</c:v>
                </c:pt>
                <c:pt idx="404">
                  <c:v>0</c:v>
                </c:pt>
                <c:pt idx="405">
                  <c:v>1</c:v>
                </c:pt>
                <c:pt idx="406">
                  <c:v>0</c:v>
                </c:pt>
                <c:pt idx="407">
                  <c:v>20</c:v>
                </c:pt>
                <c:pt idx="408">
                  <c:v>3</c:v>
                </c:pt>
                <c:pt idx="409">
                  <c:v>2</c:v>
                </c:pt>
                <c:pt idx="410">
                  <c:v>0</c:v>
                </c:pt>
                <c:pt idx="411">
                  <c:v>0</c:v>
                </c:pt>
                <c:pt idx="412">
                  <c:v>6</c:v>
                </c:pt>
                <c:pt idx="413">
                  <c:v>4</c:v>
                </c:pt>
                <c:pt idx="414">
                  <c:v>4</c:v>
                </c:pt>
                <c:pt idx="415">
                  <c:v>2</c:v>
                </c:pt>
                <c:pt idx="416">
                  <c:v>5</c:v>
                </c:pt>
                <c:pt idx="417">
                  <c:v>1</c:v>
                </c:pt>
                <c:pt idx="418">
                  <c:v>1</c:v>
                </c:pt>
                <c:pt idx="419">
                  <c:v>14</c:v>
                </c:pt>
                <c:pt idx="420">
                  <c:v>9</c:v>
                </c:pt>
                <c:pt idx="421">
                  <c:v>10</c:v>
                </c:pt>
                <c:pt idx="422">
                  <c:v>0</c:v>
                </c:pt>
                <c:pt idx="423">
                  <c:v>18</c:v>
                </c:pt>
                <c:pt idx="424">
                  <c:v>7</c:v>
                </c:pt>
                <c:pt idx="425">
                  <c:v>11</c:v>
                </c:pt>
                <c:pt idx="426">
                  <c:v>35</c:v>
                </c:pt>
                <c:pt idx="427">
                  <c:v>13</c:v>
                </c:pt>
                <c:pt idx="428">
                  <c:v>16</c:v>
                </c:pt>
                <c:pt idx="429">
                  <c:v>44</c:v>
                </c:pt>
                <c:pt idx="430">
                  <c:v>23</c:v>
                </c:pt>
                <c:pt idx="431">
                  <c:v>6</c:v>
                </c:pt>
                <c:pt idx="432">
                  <c:v>4</c:v>
                </c:pt>
                <c:pt idx="433">
                  <c:v>28</c:v>
                </c:pt>
                <c:pt idx="434">
                  <c:v>22</c:v>
                </c:pt>
                <c:pt idx="435">
                  <c:v>19</c:v>
                </c:pt>
                <c:pt idx="436">
                  <c:v>21</c:v>
                </c:pt>
                <c:pt idx="437">
                  <c:v>17</c:v>
                </c:pt>
                <c:pt idx="438">
                  <c:v>14</c:v>
                </c:pt>
                <c:pt idx="439">
                  <c:v>5</c:v>
                </c:pt>
                <c:pt idx="440">
                  <c:v>37</c:v>
                </c:pt>
                <c:pt idx="441">
                  <c:v>25</c:v>
                </c:pt>
                <c:pt idx="442">
                  <c:v>34</c:v>
                </c:pt>
                <c:pt idx="443">
                  <c:v>58</c:v>
                </c:pt>
                <c:pt idx="444" formatCode="General">
                  <c:v>109</c:v>
                </c:pt>
                <c:pt idx="445" formatCode="General">
                  <c:v>21</c:v>
                </c:pt>
                <c:pt idx="446" formatCode="General">
                  <c:v>13</c:v>
                </c:pt>
                <c:pt idx="447" formatCode="General">
                  <c:v>39</c:v>
                </c:pt>
                <c:pt idx="448" formatCode="General">
                  <c:v>20</c:v>
                </c:pt>
                <c:pt idx="449" formatCode="General">
                  <c:v>25</c:v>
                </c:pt>
                <c:pt idx="450" formatCode="General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personal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Sheet1!$B$2:$B$452</c:f>
              <c:numCache>
                <c:formatCode>#\ ##0_ ;\-#\ ##0\ </c:formatCode>
                <c:ptCount val="451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4</c:v>
                </c:pt>
                <c:pt idx="20">
                  <c:v>5</c:v>
                </c:pt>
                <c:pt idx="21">
                  <c:v>4</c:v>
                </c:pt>
                <c:pt idx="22">
                  <c:v>1</c:v>
                </c:pt>
                <c:pt idx="23">
                  <c:v>4</c:v>
                </c:pt>
                <c:pt idx="24">
                  <c:v>12</c:v>
                </c:pt>
                <c:pt idx="25">
                  <c:v>7</c:v>
                </c:pt>
                <c:pt idx="26">
                  <c:v>2</c:v>
                </c:pt>
                <c:pt idx="27">
                  <c:v>4</c:v>
                </c:pt>
                <c:pt idx="28">
                  <c:v>23</c:v>
                </c:pt>
                <c:pt idx="29">
                  <c:v>10</c:v>
                </c:pt>
                <c:pt idx="30">
                  <c:v>30</c:v>
                </c:pt>
                <c:pt idx="31">
                  <c:v>92</c:v>
                </c:pt>
                <c:pt idx="32">
                  <c:v>31</c:v>
                </c:pt>
                <c:pt idx="33">
                  <c:v>29</c:v>
                </c:pt>
                <c:pt idx="34">
                  <c:v>79</c:v>
                </c:pt>
                <c:pt idx="35">
                  <c:v>46</c:v>
                </c:pt>
                <c:pt idx="36">
                  <c:v>42</c:v>
                </c:pt>
                <c:pt idx="37">
                  <c:v>84</c:v>
                </c:pt>
                <c:pt idx="38">
                  <c:v>87</c:v>
                </c:pt>
                <c:pt idx="39">
                  <c:v>51</c:v>
                </c:pt>
                <c:pt idx="40">
                  <c:v>25</c:v>
                </c:pt>
                <c:pt idx="41">
                  <c:v>154</c:v>
                </c:pt>
                <c:pt idx="42">
                  <c:v>154</c:v>
                </c:pt>
                <c:pt idx="43">
                  <c:v>190</c:v>
                </c:pt>
                <c:pt idx="44">
                  <c:v>196</c:v>
                </c:pt>
                <c:pt idx="45">
                  <c:v>211</c:v>
                </c:pt>
                <c:pt idx="46">
                  <c:v>103</c:v>
                </c:pt>
                <c:pt idx="47">
                  <c:v>48</c:v>
                </c:pt>
                <c:pt idx="48">
                  <c:v>188</c:v>
                </c:pt>
                <c:pt idx="49">
                  <c:v>192</c:v>
                </c:pt>
                <c:pt idx="50">
                  <c:v>257</c:v>
                </c:pt>
                <c:pt idx="51">
                  <c:v>235</c:v>
                </c:pt>
                <c:pt idx="52">
                  <c:v>334</c:v>
                </c:pt>
                <c:pt idx="53">
                  <c:v>187</c:v>
                </c:pt>
                <c:pt idx="54">
                  <c:v>90</c:v>
                </c:pt>
                <c:pt idx="55">
                  <c:v>372</c:v>
                </c:pt>
                <c:pt idx="56">
                  <c:v>396</c:v>
                </c:pt>
                <c:pt idx="57">
                  <c:v>133</c:v>
                </c:pt>
                <c:pt idx="58">
                  <c:v>468</c:v>
                </c:pt>
                <c:pt idx="59">
                  <c:v>331</c:v>
                </c:pt>
                <c:pt idx="60">
                  <c:v>182</c:v>
                </c:pt>
                <c:pt idx="61">
                  <c:v>116</c:v>
                </c:pt>
                <c:pt idx="62">
                  <c:v>296</c:v>
                </c:pt>
                <c:pt idx="63">
                  <c:v>229</c:v>
                </c:pt>
                <c:pt idx="64">
                  <c:v>327</c:v>
                </c:pt>
                <c:pt idx="65">
                  <c:v>278</c:v>
                </c:pt>
                <c:pt idx="66">
                  <c:v>239</c:v>
                </c:pt>
                <c:pt idx="67">
                  <c:v>116</c:v>
                </c:pt>
                <c:pt idx="68">
                  <c:v>47</c:v>
                </c:pt>
                <c:pt idx="69">
                  <c:v>196</c:v>
                </c:pt>
                <c:pt idx="70">
                  <c:v>202</c:v>
                </c:pt>
                <c:pt idx="71">
                  <c:v>261</c:v>
                </c:pt>
                <c:pt idx="72">
                  <c:v>229</c:v>
                </c:pt>
                <c:pt idx="73">
                  <c:v>204</c:v>
                </c:pt>
                <c:pt idx="74">
                  <c:v>72</c:v>
                </c:pt>
                <c:pt idx="75">
                  <c:v>30</c:v>
                </c:pt>
                <c:pt idx="76">
                  <c:v>175</c:v>
                </c:pt>
                <c:pt idx="77">
                  <c:v>46</c:v>
                </c:pt>
                <c:pt idx="78">
                  <c:v>161</c:v>
                </c:pt>
                <c:pt idx="79">
                  <c:v>125</c:v>
                </c:pt>
                <c:pt idx="80">
                  <c:v>120</c:v>
                </c:pt>
                <c:pt idx="81">
                  <c:v>34</c:v>
                </c:pt>
                <c:pt idx="82">
                  <c:v>17</c:v>
                </c:pt>
                <c:pt idx="83">
                  <c:v>140</c:v>
                </c:pt>
                <c:pt idx="84">
                  <c:v>105</c:v>
                </c:pt>
                <c:pt idx="85">
                  <c:v>92</c:v>
                </c:pt>
                <c:pt idx="86">
                  <c:v>55</c:v>
                </c:pt>
                <c:pt idx="87">
                  <c:v>82</c:v>
                </c:pt>
                <c:pt idx="88">
                  <c:v>23</c:v>
                </c:pt>
                <c:pt idx="89">
                  <c:v>15</c:v>
                </c:pt>
                <c:pt idx="90">
                  <c:v>108</c:v>
                </c:pt>
                <c:pt idx="91">
                  <c:v>85</c:v>
                </c:pt>
                <c:pt idx="92">
                  <c:v>66</c:v>
                </c:pt>
                <c:pt idx="93">
                  <c:v>55</c:v>
                </c:pt>
                <c:pt idx="94">
                  <c:v>89</c:v>
                </c:pt>
                <c:pt idx="95">
                  <c:v>39</c:v>
                </c:pt>
                <c:pt idx="96">
                  <c:v>24</c:v>
                </c:pt>
                <c:pt idx="97">
                  <c:v>122</c:v>
                </c:pt>
                <c:pt idx="98">
                  <c:v>76</c:v>
                </c:pt>
                <c:pt idx="99">
                  <c:v>62</c:v>
                </c:pt>
                <c:pt idx="100">
                  <c:v>60</c:v>
                </c:pt>
                <c:pt idx="101">
                  <c:v>78</c:v>
                </c:pt>
                <c:pt idx="102">
                  <c:v>21</c:v>
                </c:pt>
                <c:pt idx="103">
                  <c:v>16</c:v>
                </c:pt>
                <c:pt idx="104">
                  <c:v>130</c:v>
                </c:pt>
                <c:pt idx="105">
                  <c:v>72</c:v>
                </c:pt>
                <c:pt idx="106">
                  <c:v>94</c:v>
                </c:pt>
                <c:pt idx="107">
                  <c:v>51</c:v>
                </c:pt>
                <c:pt idx="108">
                  <c:v>75</c:v>
                </c:pt>
                <c:pt idx="109">
                  <c:v>27</c:v>
                </c:pt>
                <c:pt idx="110">
                  <c:v>27</c:v>
                </c:pt>
                <c:pt idx="111">
                  <c:v>157</c:v>
                </c:pt>
                <c:pt idx="112">
                  <c:v>110</c:v>
                </c:pt>
                <c:pt idx="113">
                  <c:v>114</c:v>
                </c:pt>
                <c:pt idx="114">
                  <c:v>28</c:v>
                </c:pt>
                <c:pt idx="115">
                  <c:v>44</c:v>
                </c:pt>
                <c:pt idx="116">
                  <c:v>49</c:v>
                </c:pt>
                <c:pt idx="117">
                  <c:v>46</c:v>
                </c:pt>
                <c:pt idx="118">
                  <c:v>189</c:v>
                </c:pt>
                <c:pt idx="119">
                  <c:v>145</c:v>
                </c:pt>
                <c:pt idx="120">
                  <c:v>110</c:v>
                </c:pt>
                <c:pt idx="121">
                  <c:v>84</c:v>
                </c:pt>
                <c:pt idx="122">
                  <c:v>28</c:v>
                </c:pt>
                <c:pt idx="123">
                  <c:v>57</c:v>
                </c:pt>
                <c:pt idx="124">
                  <c:v>35</c:v>
                </c:pt>
                <c:pt idx="125">
                  <c:v>267</c:v>
                </c:pt>
                <c:pt idx="126">
                  <c:v>143</c:v>
                </c:pt>
                <c:pt idx="127">
                  <c:v>111</c:v>
                </c:pt>
                <c:pt idx="128">
                  <c:v>98</c:v>
                </c:pt>
                <c:pt idx="129">
                  <c:v>120</c:v>
                </c:pt>
                <c:pt idx="130">
                  <c:v>48</c:v>
                </c:pt>
                <c:pt idx="131">
                  <c:v>24</c:v>
                </c:pt>
                <c:pt idx="132">
                  <c:v>227</c:v>
                </c:pt>
                <c:pt idx="133">
                  <c:v>95</c:v>
                </c:pt>
                <c:pt idx="134">
                  <c:v>106</c:v>
                </c:pt>
                <c:pt idx="135">
                  <c:v>53</c:v>
                </c:pt>
                <c:pt idx="136">
                  <c:v>64</c:v>
                </c:pt>
                <c:pt idx="137">
                  <c:v>31</c:v>
                </c:pt>
                <c:pt idx="138">
                  <c:v>26</c:v>
                </c:pt>
                <c:pt idx="139">
                  <c:v>123</c:v>
                </c:pt>
                <c:pt idx="140">
                  <c:v>74</c:v>
                </c:pt>
                <c:pt idx="141">
                  <c:v>71</c:v>
                </c:pt>
                <c:pt idx="142">
                  <c:v>59</c:v>
                </c:pt>
                <c:pt idx="143">
                  <c:v>78</c:v>
                </c:pt>
                <c:pt idx="144">
                  <c:v>26</c:v>
                </c:pt>
                <c:pt idx="145">
                  <c:v>11</c:v>
                </c:pt>
                <c:pt idx="146">
                  <c:v>89</c:v>
                </c:pt>
                <c:pt idx="147">
                  <c:v>76</c:v>
                </c:pt>
                <c:pt idx="148">
                  <c:v>59</c:v>
                </c:pt>
                <c:pt idx="149">
                  <c:v>32</c:v>
                </c:pt>
                <c:pt idx="150">
                  <c:v>46</c:v>
                </c:pt>
                <c:pt idx="151">
                  <c:v>29</c:v>
                </c:pt>
                <c:pt idx="152">
                  <c:v>9</c:v>
                </c:pt>
                <c:pt idx="153">
                  <c:v>78</c:v>
                </c:pt>
                <c:pt idx="154">
                  <c:v>68</c:v>
                </c:pt>
                <c:pt idx="155">
                  <c:v>56</c:v>
                </c:pt>
                <c:pt idx="156">
                  <c:v>41</c:v>
                </c:pt>
                <c:pt idx="157">
                  <c:v>46</c:v>
                </c:pt>
                <c:pt idx="158">
                  <c:v>10</c:v>
                </c:pt>
                <c:pt idx="159">
                  <c:v>17</c:v>
                </c:pt>
                <c:pt idx="160">
                  <c:v>68</c:v>
                </c:pt>
                <c:pt idx="161">
                  <c:v>21</c:v>
                </c:pt>
                <c:pt idx="162">
                  <c:v>33</c:v>
                </c:pt>
                <c:pt idx="163">
                  <c:v>38</c:v>
                </c:pt>
                <c:pt idx="164">
                  <c:v>39</c:v>
                </c:pt>
                <c:pt idx="165">
                  <c:v>15</c:v>
                </c:pt>
                <c:pt idx="166">
                  <c:v>10</c:v>
                </c:pt>
                <c:pt idx="167">
                  <c:v>62</c:v>
                </c:pt>
                <c:pt idx="168">
                  <c:v>33</c:v>
                </c:pt>
                <c:pt idx="169">
                  <c:v>36</c:v>
                </c:pt>
                <c:pt idx="170">
                  <c:v>28</c:v>
                </c:pt>
                <c:pt idx="171">
                  <c:v>34</c:v>
                </c:pt>
                <c:pt idx="172">
                  <c:v>6</c:v>
                </c:pt>
                <c:pt idx="173">
                  <c:v>18</c:v>
                </c:pt>
                <c:pt idx="174">
                  <c:v>71</c:v>
                </c:pt>
                <c:pt idx="175">
                  <c:v>44</c:v>
                </c:pt>
                <c:pt idx="176">
                  <c:v>34</c:v>
                </c:pt>
                <c:pt idx="177">
                  <c:v>31</c:v>
                </c:pt>
                <c:pt idx="178">
                  <c:v>38</c:v>
                </c:pt>
                <c:pt idx="179">
                  <c:v>9</c:v>
                </c:pt>
                <c:pt idx="180">
                  <c:v>9</c:v>
                </c:pt>
                <c:pt idx="181">
                  <c:v>56</c:v>
                </c:pt>
                <c:pt idx="182">
                  <c:v>38</c:v>
                </c:pt>
                <c:pt idx="183">
                  <c:v>55</c:v>
                </c:pt>
                <c:pt idx="184">
                  <c:v>37</c:v>
                </c:pt>
                <c:pt idx="185">
                  <c:v>28</c:v>
                </c:pt>
                <c:pt idx="186">
                  <c:v>14</c:v>
                </c:pt>
                <c:pt idx="187">
                  <c:v>9</c:v>
                </c:pt>
                <c:pt idx="188">
                  <c:v>59</c:v>
                </c:pt>
                <c:pt idx="189">
                  <c:v>37</c:v>
                </c:pt>
                <c:pt idx="190">
                  <c:v>29</c:v>
                </c:pt>
                <c:pt idx="191">
                  <c:v>26</c:v>
                </c:pt>
                <c:pt idx="192">
                  <c:v>18</c:v>
                </c:pt>
                <c:pt idx="193">
                  <c:v>11</c:v>
                </c:pt>
                <c:pt idx="194">
                  <c:v>7</c:v>
                </c:pt>
                <c:pt idx="195">
                  <c:v>35</c:v>
                </c:pt>
                <c:pt idx="196">
                  <c:v>23</c:v>
                </c:pt>
                <c:pt idx="197">
                  <c:v>23</c:v>
                </c:pt>
                <c:pt idx="198">
                  <c:v>16</c:v>
                </c:pt>
                <c:pt idx="199">
                  <c:v>20</c:v>
                </c:pt>
                <c:pt idx="200">
                  <c:v>1</c:v>
                </c:pt>
                <c:pt idx="201">
                  <c:v>4</c:v>
                </c:pt>
                <c:pt idx="202">
                  <c:v>28</c:v>
                </c:pt>
                <c:pt idx="203">
                  <c:v>18</c:v>
                </c:pt>
                <c:pt idx="204">
                  <c:v>10</c:v>
                </c:pt>
                <c:pt idx="205">
                  <c:v>8</c:v>
                </c:pt>
                <c:pt idx="206">
                  <c:v>16</c:v>
                </c:pt>
                <c:pt idx="207">
                  <c:v>3</c:v>
                </c:pt>
                <c:pt idx="208">
                  <c:v>1</c:v>
                </c:pt>
                <c:pt idx="209">
                  <c:v>18</c:v>
                </c:pt>
                <c:pt idx="210">
                  <c:v>13</c:v>
                </c:pt>
                <c:pt idx="211">
                  <c:v>13</c:v>
                </c:pt>
                <c:pt idx="212">
                  <c:v>11</c:v>
                </c:pt>
                <c:pt idx="213">
                  <c:v>3</c:v>
                </c:pt>
                <c:pt idx="214">
                  <c:v>3</c:v>
                </c:pt>
                <c:pt idx="215">
                  <c:v>2</c:v>
                </c:pt>
                <c:pt idx="216">
                  <c:v>5</c:v>
                </c:pt>
                <c:pt idx="217">
                  <c:v>20</c:v>
                </c:pt>
                <c:pt idx="218">
                  <c:v>16</c:v>
                </c:pt>
                <c:pt idx="219">
                  <c:v>16</c:v>
                </c:pt>
                <c:pt idx="220">
                  <c:v>8</c:v>
                </c:pt>
                <c:pt idx="221">
                  <c:v>4</c:v>
                </c:pt>
                <c:pt idx="222">
                  <c:v>1</c:v>
                </c:pt>
                <c:pt idx="223">
                  <c:v>8</c:v>
                </c:pt>
                <c:pt idx="224">
                  <c:v>6</c:v>
                </c:pt>
                <c:pt idx="225">
                  <c:v>4</c:v>
                </c:pt>
                <c:pt idx="226">
                  <c:v>6</c:v>
                </c:pt>
                <c:pt idx="227">
                  <c:v>6</c:v>
                </c:pt>
                <c:pt idx="228">
                  <c:v>1</c:v>
                </c:pt>
                <c:pt idx="229">
                  <c:v>1</c:v>
                </c:pt>
                <c:pt idx="230">
                  <c:v>10</c:v>
                </c:pt>
                <c:pt idx="231">
                  <c:v>3</c:v>
                </c:pt>
                <c:pt idx="232">
                  <c:v>3</c:v>
                </c:pt>
                <c:pt idx="233">
                  <c:v>4</c:v>
                </c:pt>
                <c:pt idx="234">
                  <c:v>3</c:v>
                </c:pt>
                <c:pt idx="235">
                  <c:v>1</c:v>
                </c:pt>
                <c:pt idx="236">
                  <c:v>0</c:v>
                </c:pt>
                <c:pt idx="237">
                  <c:v>6</c:v>
                </c:pt>
                <c:pt idx="238">
                  <c:v>6</c:v>
                </c:pt>
                <c:pt idx="239">
                  <c:v>2</c:v>
                </c:pt>
                <c:pt idx="240">
                  <c:v>2</c:v>
                </c:pt>
                <c:pt idx="241">
                  <c:v>4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1</c:v>
                </c:pt>
                <c:pt idx="247">
                  <c:v>5</c:v>
                </c:pt>
                <c:pt idx="248">
                  <c:v>2</c:v>
                </c:pt>
                <c:pt idx="249">
                  <c:v>1</c:v>
                </c:pt>
                <c:pt idx="250">
                  <c:v>0</c:v>
                </c:pt>
                <c:pt idx="251">
                  <c:v>1</c:v>
                </c:pt>
                <c:pt idx="252">
                  <c:v>4</c:v>
                </c:pt>
                <c:pt idx="253">
                  <c:v>0</c:v>
                </c:pt>
                <c:pt idx="254">
                  <c:v>2</c:v>
                </c:pt>
                <c:pt idx="255">
                  <c:v>1</c:v>
                </c:pt>
                <c:pt idx="256">
                  <c:v>0</c:v>
                </c:pt>
                <c:pt idx="257">
                  <c:v>0</c:v>
                </c:pt>
                <c:pt idx="258">
                  <c:v>4</c:v>
                </c:pt>
                <c:pt idx="259">
                  <c:v>4</c:v>
                </c:pt>
                <c:pt idx="260">
                  <c:v>1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2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1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2</c:v>
                </c:pt>
                <c:pt idx="366">
                  <c:v>1</c:v>
                </c:pt>
                <c:pt idx="367">
                  <c:v>1</c:v>
                </c:pt>
                <c:pt idx="368">
                  <c:v>0</c:v>
                </c:pt>
                <c:pt idx="369">
                  <c:v>0</c:v>
                </c:pt>
                <c:pt idx="370">
                  <c:v>1</c:v>
                </c:pt>
                <c:pt idx="371">
                  <c:v>2</c:v>
                </c:pt>
                <c:pt idx="372">
                  <c:v>1</c:v>
                </c:pt>
                <c:pt idx="373">
                  <c:v>1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0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4</c:v>
                </c:pt>
                <c:pt idx="385">
                  <c:v>3</c:v>
                </c:pt>
                <c:pt idx="386">
                  <c:v>2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0</c:v>
                </c:pt>
                <c:pt idx="391">
                  <c:v>5</c:v>
                </c:pt>
                <c:pt idx="392">
                  <c:v>2</c:v>
                </c:pt>
                <c:pt idx="393">
                  <c:v>7</c:v>
                </c:pt>
                <c:pt idx="394">
                  <c:v>3</c:v>
                </c:pt>
                <c:pt idx="395">
                  <c:v>2</c:v>
                </c:pt>
                <c:pt idx="396">
                  <c:v>0</c:v>
                </c:pt>
                <c:pt idx="397">
                  <c:v>0</c:v>
                </c:pt>
                <c:pt idx="398">
                  <c:v>3</c:v>
                </c:pt>
                <c:pt idx="399">
                  <c:v>5</c:v>
                </c:pt>
                <c:pt idx="400">
                  <c:v>2</c:v>
                </c:pt>
                <c:pt idx="401">
                  <c:v>1</c:v>
                </c:pt>
                <c:pt idx="402">
                  <c:v>2</c:v>
                </c:pt>
                <c:pt idx="403">
                  <c:v>1</c:v>
                </c:pt>
                <c:pt idx="404">
                  <c:v>0</c:v>
                </c:pt>
                <c:pt idx="405">
                  <c:v>2</c:v>
                </c:pt>
                <c:pt idx="406">
                  <c:v>3</c:v>
                </c:pt>
                <c:pt idx="407">
                  <c:v>1</c:v>
                </c:pt>
                <c:pt idx="408">
                  <c:v>3</c:v>
                </c:pt>
                <c:pt idx="409">
                  <c:v>6</c:v>
                </c:pt>
                <c:pt idx="410">
                  <c:v>2</c:v>
                </c:pt>
                <c:pt idx="411">
                  <c:v>1</c:v>
                </c:pt>
                <c:pt idx="412">
                  <c:v>12</c:v>
                </c:pt>
                <c:pt idx="413">
                  <c:v>7</c:v>
                </c:pt>
                <c:pt idx="414">
                  <c:v>9</c:v>
                </c:pt>
                <c:pt idx="415">
                  <c:v>7</c:v>
                </c:pt>
                <c:pt idx="416">
                  <c:v>10</c:v>
                </c:pt>
                <c:pt idx="417">
                  <c:v>0</c:v>
                </c:pt>
                <c:pt idx="418">
                  <c:v>3</c:v>
                </c:pt>
                <c:pt idx="419">
                  <c:v>17</c:v>
                </c:pt>
                <c:pt idx="420">
                  <c:v>5</c:v>
                </c:pt>
                <c:pt idx="421">
                  <c:v>15</c:v>
                </c:pt>
                <c:pt idx="422">
                  <c:v>3</c:v>
                </c:pt>
                <c:pt idx="423">
                  <c:v>8</c:v>
                </c:pt>
                <c:pt idx="424">
                  <c:v>5</c:v>
                </c:pt>
                <c:pt idx="425">
                  <c:v>4</c:v>
                </c:pt>
                <c:pt idx="426">
                  <c:v>39</c:v>
                </c:pt>
                <c:pt idx="427">
                  <c:v>23</c:v>
                </c:pt>
                <c:pt idx="428">
                  <c:v>19</c:v>
                </c:pt>
                <c:pt idx="429">
                  <c:v>24</c:v>
                </c:pt>
                <c:pt idx="430">
                  <c:v>24</c:v>
                </c:pt>
                <c:pt idx="431">
                  <c:v>11</c:v>
                </c:pt>
                <c:pt idx="432">
                  <c:v>5</c:v>
                </c:pt>
                <c:pt idx="433">
                  <c:v>35</c:v>
                </c:pt>
                <c:pt idx="434">
                  <c:v>28</c:v>
                </c:pt>
                <c:pt idx="435">
                  <c:v>35</c:v>
                </c:pt>
                <c:pt idx="436">
                  <c:v>35</c:v>
                </c:pt>
                <c:pt idx="437">
                  <c:v>32</c:v>
                </c:pt>
                <c:pt idx="438">
                  <c:v>23</c:v>
                </c:pt>
                <c:pt idx="439">
                  <c:v>15</c:v>
                </c:pt>
                <c:pt idx="440">
                  <c:v>43</c:v>
                </c:pt>
                <c:pt idx="441">
                  <c:v>52</c:v>
                </c:pt>
                <c:pt idx="442">
                  <c:v>15</c:v>
                </c:pt>
                <c:pt idx="443">
                  <c:v>40</c:v>
                </c:pt>
                <c:pt idx="444" formatCode="General">
                  <c:v>62</c:v>
                </c:pt>
                <c:pt idx="445" formatCode="General">
                  <c:v>25</c:v>
                </c:pt>
                <c:pt idx="446" formatCode="General">
                  <c:v>8</c:v>
                </c:pt>
                <c:pt idx="447" formatCode="General">
                  <c:v>47</c:v>
                </c:pt>
                <c:pt idx="448" formatCode="General">
                  <c:v>52</c:v>
                </c:pt>
                <c:pt idx="449" formatCode="General">
                  <c:v>43</c:v>
                </c:pt>
                <c:pt idx="450" formatCode="General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_celkem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Sheet1!$B$2:$B$452</c:f>
              <c:numCache>
                <c:formatCode>#\ ##0_ ;\-#\ ##0\ </c:formatCode>
                <c:ptCount val="451"/>
                <c:pt idx="0">
                  <c:v>7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3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4</c:v>
                </c:pt>
                <c:pt idx="18">
                  <c:v>2</c:v>
                </c:pt>
                <c:pt idx="19">
                  <c:v>7</c:v>
                </c:pt>
                <c:pt idx="20">
                  <c:v>6</c:v>
                </c:pt>
                <c:pt idx="21">
                  <c:v>4</c:v>
                </c:pt>
                <c:pt idx="22">
                  <c:v>2</c:v>
                </c:pt>
                <c:pt idx="23">
                  <c:v>7</c:v>
                </c:pt>
                <c:pt idx="24">
                  <c:v>13</c:v>
                </c:pt>
                <c:pt idx="25">
                  <c:v>12</c:v>
                </c:pt>
                <c:pt idx="26">
                  <c:v>7</c:v>
                </c:pt>
                <c:pt idx="27">
                  <c:v>7</c:v>
                </c:pt>
                <c:pt idx="28">
                  <c:v>28</c:v>
                </c:pt>
                <c:pt idx="29">
                  <c:v>38</c:v>
                </c:pt>
                <c:pt idx="30">
                  <c:v>60</c:v>
                </c:pt>
                <c:pt idx="31">
                  <c:v>152</c:v>
                </c:pt>
                <c:pt idx="32">
                  <c:v>67</c:v>
                </c:pt>
                <c:pt idx="33">
                  <c:v>83</c:v>
                </c:pt>
                <c:pt idx="34">
                  <c:v>238</c:v>
                </c:pt>
                <c:pt idx="35">
                  <c:v>128</c:v>
                </c:pt>
                <c:pt idx="36">
                  <c:v>87</c:v>
                </c:pt>
                <c:pt idx="37">
                  <c:v>162</c:v>
                </c:pt>
                <c:pt idx="38">
                  <c:v>226</c:v>
                </c:pt>
                <c:pt idx="39">
                  <c:v>81</c:v>
                </c:pt>
                <c:pt idx="40">
                  <c:v>36</c:v>
                </c:pt>
                <c:pt idx="41">
                  <c:v>292</c:v>
                </c:pt>
                <c:pt idx="42">
                  <c:v>376</c:v>
                </c:pt>
                <c:pt idx="43">
                  <c:v>371</c:v>
                </c:pt>
                <c:pt idx="44">
                  <c:v>386</c:v>
                </c:pt>
                <c:pt idx="45">
                  <c:v>416</c:v>
                </c:pt>
                <c:pt idx="46">
                  <c:v>258</c:v>
                </c:pt>
                <c:pt idx="47">
                  <c:v>89</c:v>
                </c:pt>
                <c:pt idx="48">
                  <c:v>430</c:v>
                </c:pt>
                <c:pt idx="49">
                  <c:v>389</c:v>
                </c:pt>
                <c:pt idx="50">
                  <c:v>583</c:v>
                </c:pt>
                <c:pt idx="51">
                  <c:v>462</c:v>
                </c:pt>
                <c:pt idx="52">
                  <c:v>749</c:v>
                </c:pt>
                <c:pt idx="53">
                  <c:v>414</c:v>
                </c:pt>
                <c:pt idx="54">
                  <c:v>285</c:v>
                </c:pt>
                <c:pt idx="55">
                  <c:v>759</c:v>
                </c:pt>
                <c:pt idx="56">
                  <c:v>918</c:v>
                </c:pt>
                <c:pt idx="57">
                  <c:v>393</c:v>
                </c:pt>
                <c:pt idx="58">
                  <c:v>1004</c:v>
                </c:pt>
                <c:pt idx="59">
                  <c:v>918</c:v>
                </c:pt>
                <c:pt idx="60">
                  <c:v>518</c:v>
                </c:pt>
                <c:pt idx="61">
                  <c:v>328</c:v>
                </c:pt>
                <c:pt idx="62">
                  <c:v>627</c:v>
                </c:pt>
                <c:pt idx="63">
                  <c:v>561</c:v>
                </c:pt>
                <c:pt idx="64">
                  <c:v>751</c:v>
                </c:pt>
                <c:pt idx="65">
                  <c:v>811</c:v>
                </c:pt>
                <c:pt idx="66">
                  <c:v>726</c:v>
                </c:pt>
                <c:pt idx="67">
                  <c:v>330</c:v>
                </c:pt>
                <c:pt idx="68">
                  <c:v>125</c:v>
                </c:pt>
                <c:pt idx="69">
                  <c:v>398</c:v>
                </c:pt>
                <c:pt idx="70">
                  <c:v>587</c:v>
                </c:pt>
                <c:pt idx="71">
                  <c:v>937</c:v>
                </c:pt>
                <c:pt idx="72">
                  <c:v>727</c:v>
                </c:pt>
                <c:pt idx="73">
                  <c:v>684</c:v>
                </c:pt>
                <c:pt idx="74">
                  <c:v>251</c:v>
                </c:pt>
                <c:pt idx="75">
                  <c:v>194</c:v>
                </c:pt>
                <c:pt idx="76">
                  <c:v>557</c:v>
                </c:pt>
                <c:pt idx="77">
                  <c:v>183</c:v>
                </c:pt>
                <c:pt idx="78">
                  <c:v>430</c:v>
                </c:pt>
                <c:pt idx="79">
                  <c:v>394</c:v>
                </c:pt>
                <c:pt idx="80">
                  <c:v>358</c:v>
                </c:pt>
                <c:pt idx="81">
                  <c:v>128</c:v>
                </c:pt>
                <c:pt idx="82">
                  <c:v>108</c:v>
                </c:pt>
                <c:pt idx="83">
                  <c:v>519</c:v>
                </c:pt>
                <c:pt idx="84">
                  <c:v>303</c:v>
                </c:pt>
                <c:pt idx="85">
                  <c:v>216</c:v>
                </c:pt>
                <c:pt idx="86">
                  <c:v>249</c:v>
                </c:pt>
                <c:pt idx="87">
                  <c:v>221</c:v>
                </c:pt>
                <c:pt idx="88">
                  <c:v>101</c:v>
                </c:pt>
                <c:pt idx="89">
                  <c:v>43</c:v>
                </c:pt>
                <c:pt idx="90">
                  <c:v>323</c:v>
                </c:pt>
                <c:pt idx="91">
                  <c:v>208</c:v>
                </c:pt>
                <c:pt idx="92">
                  <c:v>198</c:v>
                </c:pt>
                <c:pt idx="93">
                  <c:v>187</c:v>
                </c:pt>
                <c:pt idx="94">
                  <c:v>230</c:v>
                </c:pt>
                <c:pt idx="95">
                  <c:v>128</c:v>
                </c:pt>
                <c:pt idx="96">
                  <c:v>44</c:v>
                </c:pt>
                <c:pt idx="97">
                  <c:v>264</c:v>
                </c:pt>
                <c:pt idx="98">
                  <c:v>165</c:v>
                </c:pt>
                <c:pt idx="99">
                  <c:v>203</c:v>
                </c:pt>
                <c:pt idx="100">
                  <c:v>144</c:v>
                </c:pt>
                <c:pt idx="101">
                  <c:v>308</c:v>
                </c:pt>
                <c:pt idx="102">
                  <c:v>88</c:v>
                </c:pt>
                <c:pt idx="103">
                  <c:v>66</c:v>
                </c:pt>
                <c:pt idx="104">
                  <c:v>278</c:v>
                </c:pt>
                <c:pt idx="105">
                  <c:v>205</c:v>
                </c:pt>
                <c:pt idx="106">
                  <c:v>194</c:v>
                </c:pt>
                <c:pt idx="107">
                  <c:v>119</c:v>
                </c:pt>
                <c:pt idx="108">
                  <c:v>290</c:v>
                </c:pt>
                <c:pt idx="109">
                  <c:v>88</c:v>
                </c:pt>
                <c:pt idx="110">
                  <c:v>48</c:v>
                </c:pt>
                <c:pt idx="111">
                  <c:v>335</c:v>
                </c:pt>
                <c:pt idx="112">
                  <c:v>285</c:v>
                </c:pt>
                <c:pt idx="113">
                  <c:v>236</c:v>
                </c:pt>
                <c:pt idx="114">
                  <c:v>46</c:v>
                </c:pt>
                <c:pt idx="115">
                  <c:v>115</c:v>
                </c:pt>
                <c:pt idx="116">
                  <c:v>127</c:v>
                </c:pt>
                <c:pt idx="117">
                  <c:v>143</c:v>
                </c:pt>
                <c:pt idx="118">
                  <c:v>354</c:v>
                </c:pt>
                <c:pt idx="119">
                  <c:v>330</c:v>
                </c:pt>
                <c:pt idx="120">
                  <c:v>254</c:v>
                </c:pt>
                <c:pt idx="121">
                  <c:v>217</c:v>
                </c:pt>
                <c:pt idx="122">
                  <c:v>93</c:v>
                </c:pt>
                <c:pt idx="123">
                  <c:v>116</c:v>
                </c:pt>
                <c:pt idx="124">
                  <c:v>76</c:v>
                </c:pt>
                <c:pt idx="125">
                  <c:v>535</c:v>
                </c:pt>
                <c:pt idx="126">
                  <c:v>295</c:v>
                </c:pt>
                <c:pt idx="127">
                  <c:v>275</c:v>
                </c:pt>
                <c:pt idx="128">
                  <c:v>331</c:v>
                </c:pt>
                <c:pt idx="129">
                  <c:v>305</c:v>
                </c:pt>
                <c:pt idx="130">
                  <c:v>109</c:v>
                </c:pt>
                <c:pt idx="131">
                  <c:v>54</c:v>
                </c:pt>
                <c:pt idx="132">
                  <c:v>465</c:v>
                </c:pt>
                <c:pt idx="133">
                  <c:v>221</c:v>
                </c:pt>
                <c:pt idx="134">
                  <c:v>280</c:v>
                </c:pt>
                <c:pt idx="135">
                  <c:v>150</c:v>
                </c:pt>
                <c:pt idx="136">
                  <c:v>149</c:v>
                </c:pt>
                <c:pt idx="137">
                  <c:v>66</c:v>
                </c:pt>
                <c:pt idx="138">
                  <c:v>71</c:v>
                </c:pt>
                <c:pt idx="139">
                  <c:v>284</c:v>
                </c:pt>
                <c:pt idx="140">
                  <c:v>152</c:v>
                </c:pt>
                <c:pt idx="141">
                  <c:v>217</c:v>
                </c:pt>
                <c:pt idx="142">
                  <c:v>165</c:v>
                </c:pt>
                <c:pt idx="143">
                  <c:v>192</c:v>
                </c:pt>
                <c:pt idx="144">
                  <c:v>79</c:v>
                </c:pt>
                <c:pt idx="145">
                  <c:v>35</c:v>
                </c:pt>
                <c:pt idx="146">
                  <c:v>174</c:v>
                </c:pt>
                <c:pt idx="147">
                  <c:v>117</c:v>
                </c:pt>
                <c:pt idx="148">
                  <c:v>154</c:v>
                </c:pt>
                <c:pt idx="149">
                  <c:v>98</c:v>
                </c:pt>
                <c:pt idx="150">
                  <c:v>83</c:v>
                </c:pt>
                <c:pt idx="151">
                  <c:v>78</c:v>
                </c:pt>
                <c:pt idx="152">
                  <c:v>18</c:v>
                </c:pt>
                <c:pt idx="153">
                  <c:v>183</c:v>
                </c:pt>
                <c:pt idx="154">
                  <c:v>162</c:v>
                </c:pt>
                <c:pt idx="155">
                  <c:v>158</c:v>
                </c:pt>
                <c:pt idx="156">
                  <c:v>123</c:v>
                </c:pt>
                <c:pt idx="157">
                  <c:v>130</c:v>
                </c:pt>
                <c:pt idx="158">
                  <c:v>52</c:v>
                </c:pt>
                <c:pt idx="159">
                  <c:v>33</c:v>
                </c:pt>
                <c:pt idx="160">
                  <c:v>132</c:v>
                </c:pt>
                <c:pt idx="161">
                  <c:v>87</c:v>
                </c:pt>
                <c:pt idx="162">
                  <c:v>100</c:v>
                </c:pt>
                <c:pt idx="163">
                  <c:v>103</c:v>
                </c:pt>
                <c:pt idx="164">
                  <c:v>91</c:v>
                </c:pt>
                <c:pt idx="165">
                  <c:v>23</c:v>
                </c:pt>
                <c:pt idx="166">
                  <c:v>23</c:v>
                </c:pt>
                <c:pt idx="167">
                  <c:v>99</c:v>
                </c:pt>
                <c:pt idx="168">
                  <c:v>51</c:v>
                </c:pt>
                <c:pt idx="169">
                  <c:v>66</c:v>
                </c:pt>
                <c:pt idx="170">
                  <c:v>56</c:v>
                </c:pt>
                <c:pt idx="171">
                  <c:v>60</c:v>
                </c:pt>
                <c:pt idx="172">
                  <c:v>24</c:v>
                </c:pt>
                <c:pt idx="173">
                  <c:v>23</c:v>
                </c:pt>
                <c:pt idx="174">
                  <c:v>161</c:v>
                </c:pt>
                <c:pt idx="175">
                  <c:v>79</c:v>
                </c:pt>
                <c:pt idx="176">
                  <c:v>68</c:v>
                </c:pt>
                <c:pt idx="177">
                  <c:v>77</c:v>
                </c:pt>
                <c:pt idx="178">
                  <c:v>84</c:v>
                </c:pt>
                <c:pt idx="179">
                  <c:v>18</c:v>
                </c:pt>
                <c:pt idx="180">
                  <c:v>12</c:v>
                </c:pt>
                <c:pt idx="181">
                  <c:v>134</c:v>
                </c:pt>
                <c:pt idx="182">
                  <c:v>66</c:v>
                </c:pt>
                <c:pt idx="183">
                  <c:v>101</c:v>
                </c:pt>
                <c:pt idx="184">
                  <c:v>46</c:v>
                </c:pt>
                <c:pt idx="185">
                  <c:v>50</c:v>
                </c:pt>
                <c:pt idx="186">
                  <c:v>19</c:v>
                </c:pt>
                <c:pt idx="187">
                  <c:v>14</c:v>
                </c:pt>
                <c:pt idx="188">
                  <c:v>86</c:v>
                </c:pt>
                <c:pt idx="189">
                  <c:v>109</c:v>
                </c:pt>
                <c:pt idx="190">
                  <c:v>84</c:v>
                </c:pt>
                <c:pt idx="191">
                  <c:v>38</c:v>
                </c:pt>
                <c:pt idx="192">
                  <c:v>43</c:v>
                </c:pt>
                <c:pt idx="193">
                  <c:v>20</c:v>
                </c:pt>
                <c:pt idx="194">
                  <c:v>13</c:v>
                </c:pt>
                <c:pt idx="195">
                  <c:v>61</c:v>
                </c:pt>
                <c:pt idx="196">
                  <c:v>43</c:v>
                </c:pt>
                <c:pt idx="197">
                  <c:v>30</c:v>
                </c:pt>
                <c:pt idx="198">
                  <c:v>53</c:v>
                </c:pt>
                <c:pt idx="199">
                  <c:v>38</c:v>
                </c:pt>
                <c:pt idx="200">
                  <c:v>10</c:v>
                </c:pt>
                <c:pt idx="201">
                  <c:v>8</c:v>
                </c:pt>
                <c:pt idx="202">
                  <c:v>42</c:v>
                </c:pt>
                <c:pt idx="203">
                  <c:v>47</c:v>
                </c:pt>
                <c:pt idx="204">
                  <c:v>29</c:v>
                </c:pt>
                <c:pt idx="205">
                  <c:v>39</c:v>
                </c:pt>
                <c:pt idx="206">
                  <c:v>22</c:v>
                </c:pt>
                <c:pt idx="207">
                  <c:v>6</c:v>
                </c:pt>
                <c:pt idx="208">
                  <c:v>5</c:v>
                </c:pt>
                <c:pt idx="209">
                  <c:v>39</c:v>
                </c:pt>
                <c:pt idx="210">
                  <c:v>23</c:v>
                </c:pt>
                <c:pt idx="211">
                  <c:v>22</c:v>
                </c:pt>
                <c:pt idx="212">
                  <c:v>20</c:v>
                </c:pt>
                <c:pt idx="213">
                  <c:v>6</c:v>
                </c:pt>
                <c:pt idx="214">
                  <c:v>6</c:v>
                </c:pt>
                <c:pt idx="215">
                  <c:v>4</c:v>
                </c:pt>
                <c:pt idx="216">
                  <c:v>6</c:v>
                </c:pt>
                <c:pt idx="217">
                  <c:v>25</c:v>
                </c:pt>
                <c:pt idx="218">
                  <c:v>34</c:v>
                </c:pt>
                <c:pt idx="219">
                  <c:v>17</c:v>
                </c:pt>
                <c:pt idx="220">
                  <c:v>11</c:v>
                </c:pt>
                <c:pt idx="221">
                  <c:v>5</c:v>
                </c:pt>
                <c:pt idx="222">
                  <c:v>1</c:v>
                </c:pt>
                <c:pt idx="223">
                  <c:v>8</c:v>
                </c:pt>
                <c:pt idx="224">
                  <c:v>8</c:v>
                </c:pt>
                <c:pt idx="225">
                  <c:v>5</c:v>
                </c:pt>
                <c:pt idx="226">
                  <c:v>9</c:v>
                </c:pt>
                <c:pt idx="227">
                  <c:v>7</c:v>
                </c:pt>
                <c:pt idx="228">
                  <c:v>2</c:v>
                </c:pt>
                <c:pt idx="229">
                  <c:v>2</c:v>
                </c:pt>
                <c:pt idx="230">
                  <c:v>15</c:v>
                </c:pt>
                <c:pt idx="231">
                  <c:v>7</c:v>
                </c:pt>
                <c:pt idx="232">
                  <c:v>6</c:v>
                </c:pt>
                <c:pt idx="233">
                  <c:v>13</c:v>
                </c:pt>
                <c:pt idx="234">
                  <c:v>7</c:v>
                </c:pt>
                <c:pt idx="235">
                  <c:v>2</c:v>
                </c:pt>
                <c:pt idx="236">
                  <c:v>0</c:v>
                </c:pt>
                <c:pt idx="237">
                  <c:v>7</c:v>
                </c:pt>
                <c:pt idx="238">
                  <c:v>9</c:v>
                </c:pt>
                <c:pt idx="239">
                  <c:v>3</c:v>
                </c:pt>
                <c:pt idx="240">
                  <c:v>4</c:v>
                </c:pt>
                <c:pt idx="241">
                  <c:v>5</c:v>
                </c:pt>
                <c:pt idx="242">
                  <c:v>0</c:v>
                </c:pt>
                <c:pt idx="243">
                  <c:v>1</c:v>
                </c:pt>
                <c:pt idx="244">
                  <c:v>2</c:v>
                </c:pt>
                <c:pt idx="245">
                  <c:v>2</c:v>
                </c:pt>
                <c:pt idx="246">
                  <c:v>3</c:v>
                </c:pt>
                <c:pt idx="247">
                  <c:v>5</c:v>
                </c:pt>
                <c:pt idx="248">
                  <c:v>3</c:v>
                </c:pt>
                <c:pt idx="249">
                  <c:v>1</c:v>
                </c:pt>
                <c:pt idx="250">
                  <c:v>3</c:v>
                </c:pt>
                <c:pt idx="251">
                  <c:v>6</c:v>
                </c:pt>
                <c:pt idx="252">
                  <c:v>6</c:v>
                </c:pt>
                <c:pt idx="253">
                  <c:v>0</c:v>
                </c:pt>
                <c:pt idx="254">
                  <c:v>4</c:v>
                </c:pt>
                <c:pt idx="255">
                  <c:v>4</c:v>
                </c:pt>
                <c:pt idx="256">
                  <c:v>1</c:v>
                </c:pt>
                <c:pt idx="257">
                  <c:v>0</c:v>
                </c:pt>
                <c:pt idx="258">
                  <c:v>7</c:v>
                </c:pt>
                <c:pt idx="259">
                  <c:v>4</c:v>
                </c:pt>
                <c:pt idx="260">
                  <c:v>3</c:v>
                </c:pt>
                <c:pt idx="261">
                  <c:v>3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4</c:v>
                </c:pt>
                <c:pt idx="266">
                  <c:v>1</c:v>
                </c:pt>
                <c:pt idx="267">
                  <c:v>1</c:v>
                </c:pt>
                <c:pt idx="268">
                  <c:v>1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2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1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0</c:v>
                </c:pt>
                <c:pt idx="313">
                  <c:v>1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1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1</c:v>
                </c:pt>
                <c:pt idx="330">
                  <c:v>2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0</c:v>
                </c:pt>
                <c:pt idx="344">
                  <c:v>1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1</c:v>
                </c:pt>
                <c:pt idx="350">
                  <c:v>1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3</c:v>
                </c:pt>
                <c:pt idx="357">
                  <c:v>0</c:v>
                </c:pt>
                <c:pt idx="358">
                  <c:v>0</c:v>
                </c:pt>
                <c:pt idx="359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3</c:v>
                </c:pt>
                <c:pt idx="366">
                  <c:v>5</c:v>
                </c:pt>
                <c:pt idx="367">
                  <c:v>3</c:v>
                </c:pt>
                <c:pt idx="368">
                  <c:v>1</c:v>
                </c:pt>
                <c:pt idx="369">
                  <c:v>0</c:v>
                </c:pt>
                <c:pt idx="370">
                  <c:v>5</c:v>
                </c:pt>
                <c:pt idx="371">
                  <c:v>2</c:v>
                </c:pt>
                <c:pt idx="372">
                  <c:v>1</c:v>
                </c:pt>
                <c:pt idx="373">
                  <c:v>2</c:v>
                </c:pt>
                <c:pt idx="374">
                  <c:v>0</c:v>
                </c:pt>
                <c:pt idx="375">
                  <c:v>0</c:v>
                </c:pt>
                <c:pt idx="376">
                  <c:v>1</c:v>
                </c:pt>
                <c:pt idx="377">
                  <c:v>1</c:v>
                </c:pt>
                <c:pt idx="378">
                  <c:v>1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1</c:v>
                </c:pt>
                <c:pt idx="383">
                  <c:v>0</c:v>
                </c:pt>
                <c:pt idx="384">
                  <c:v>5</c:v>
                </c:pt>
                <c:pt idx="385">
                  <c:v>6</c:v>
                </c:pt>
                <c:pt idx="386">
                  <c:v>3</c:v>
                </c:pt>
                <c:pt idx="387">
                  <c:v>0</c:v>
                </c:pt>
                <c:pt idx="388">
                  <c:v>0</c:v>
                </c:pt>
                <c:pt idx="389">
                  <c:v>1</c:v>
                </c:pt>
                <c:pt idx="390">
                  <c:v>0</c:v>
                </c:pt>
                <c:pt idx="391">
                  <c:v>7</c:v>
                </c:pt>
                <c:pt idx="392">
                  <c:v>2</c:v>
                </c:pt>
                <c:pt idx="393">
                  <c:v>8</c:v>
                </c:pt>
                <c:pt idx="394">
                  <c:v>3</c:v>
                </c:pt>
                <c:pt idx="395">
                  <c:v>3</c:v>
                </c:pt>
                <c:pt idx="396">
                  <c:v>1</c:v>
                </c:pt>
                <c:pt idx="397">
                  <c:v>1</c:v>
                </c:pt>
                <c:pt idx="398">
                  <c:v>5</c:v>
                </c:pt>
                <c:pt idx="399">
                  <c:v>7</c:v>
                </c:pt>
                <c:pt idx="400">
                  <c:v>13</c:v>
                </c:pt>
                <c:pt idx="401">
                  <c:v>3</c:v>
                </c:pt>
                <c:pt idx="402">
                  <c:v>27</c:v>
                </c:pt>
                <c:pt idx="403">
                  <c:v>2</c:v>
                </c:pt>
                <c:pt idx="404">
                  <c:v>0</c:v>
                </c:pt>
                <c:pt idx="405">
                  <c:v>3</c:v>
                </c:pt>
                <c:pt idx="406">
                  <c:v>3</c:v>
                </c:pt>
                <c:pt idx="407">
                  <c:v>21</c:v>
                </c:pt>
                <c:pt idx="408">
                  <c:v>6</c:v>
                </c:pt>
                <c:pt idx="409">
                  <c:v>8</c:v>
                </c:pt>
                <c:pt idx="410">
                  <c:v>2</c:v>
                </c:pt>
                <c:pt idx="411">
                  <c:v>1</c:v>
                </c:pt>
                <c:pt idx="412">
                  <c:v>18</c:v>
                </c:pt>
                <c:pt idx="413">
                  <c:v>11</c:v>
                </c:pt>
                <c:pt idx="414">
                  <c:v>13</c:v>
                </c:pt>
                <c:pt idx="415">
                  <c:v>9</c:v>
                </c:pt>
                <c:pt idx="416">
                  <c:v>15</c:v>
                </c:pt>
                <c:pt idx="417">
                  <c:v>1</c:v>
                </c:pt>
                <c:pt idx="418">
                  <c:v>4</c:v>
                </c:pt>
                <c:pt idx="419">
                  <c:v>31</c:v>
                </c:pt>
                <c:pt idx="420">
                  <c:v>14</c:v>
                </c:pt>
                <c:pt idx="421">
                  <c:v>25</c:v>
                </c:pt>
                <c:pt idx="422">
                  <c:v>3</c:v>
                </c:pt>
                <c:pt idx="423">
                  <c:v>26</c:v>
                </c:pt>
                <c:pt idx="424">
                  <c:v>12</c:v>
                </c:pt>
                <c:pt idx="425">
                  <c:v>15</c:v>
                </c:pt>
                <c:pt idx="426">
                  <c:v>74</c:v>
                </c:pt>
                <c:pt idx="427">
                  <c:v>36</c:v>
                </c:pt>
                <c:pt idx="428">
                  <c:v>35</c:v>
                </c:pt>
                <c:pt idx="429">
                  <c:v>68</c:v>
                </c:pt>
                <c:pt idx="430">
                  <c:v>47</c:v>
                </c:pt>
                <c:pt idx="431" formatCode="General">
                  <c:v>17</c:v>
                </c:pt>
                <c:pt idx="432" formatCode="General">
                  <c:v>9</c:v>
                </c:pt>
                <c:pt idx="433" formatCode="General">
                  <c:v>63</c:v>
                </c:pt>
                <c:pt idx="434" formatCode="General">
                  <c:v>50</c:v>
                </c:pt>
                <c:pt idx="435" formatCode="General">
                  <c:v>54</c:v>
                </c:pt>
                <c:pt idx="436" formatCode="General">
                  <c:v>56</c:v>
                </c:pt>
                <c:pt idx="437" formatCode="General">
                  <c:v>49</c:v>
                </c:pt>
                <c:pt idx="438" formatCode="General">
                  <c:v>37</c:v>
                </c:pt>
                <c:pt idx="439" formatCode="General">
                  <c:v>20</c:v>
                </c:pt>
                <c:pt idx="440" formatCode="General">
                  <c:v>80</c:v>
                </c:pt>
                <c:pt idx="441" formatCode="General">
                  <c:v>77</c:v>
                </c:pt>
                <c:pt idx="442" formatCode="General">
                  <c:v>49</c:v>
                </c:pt>
                <c:pt idx="443" formatCode="General">
                  <c:v>98</c:v>
                </c:pt>
                <c:pt idx="444" formatCode="General">
                  <c:v>171</c:v>
                </c:pt>
                <c:pt idx="445" formatCode="General">
                  <c:v>46</c:v>
                </c:pt>
                <c:pt idx="446" formatCode="General">
                  <c:v>21</c:v>
                </c:pt>
                <c:pt idx="447" formatCode="General">
                  <c:v>86</c:v>
                </c:pt>
                <c:pt idx="448" formatCode="General">
                  <c:v>72</c:v>
                </c:pt>
                <c:pt idx="449" formatCode="General">
                  <c:v>68</c:v>
                </c:pt>
                <c:pt idx="450" formatCode="General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C0-4B0C-A220-7796AA6DA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ti_klinet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452</c:f>
              <c:numCache>
                <c:formatCode>m/d/yyyy</c:formatCode>
                <c:ptCount val="45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</c:numCache>
            </c:numRef>
          </c:cat>
          <c:val>
            <c:numRef>
              <c:f>Sheet1!$B$2:$B$452</c:f>
              <c:numCache>
                <c:formatCode>#\ ##0_ ;\-#\ ##0\ </c:formatCode>
                <c:ptCount val="4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1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1</c:v>
                </c:pt>
                <c:pt idx="29">
                  <c:v>0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6</c:v>
                </c:pt>
                <c:pt idx="36">
                  <c:v>5</c:v>
                </c:pt>
                <c:pt idx="37">
                  <c:v>4</c:v>
                </c:pt>
                <c:pt idx="38">
                  <c:v>9</c:v>
                </c:pt>
                <c:pt idx="39">
                  <c:v>6</c:v>
                </c:pt>
                <c:pt idx="40">
                  <c:v>1</c:v>
                </c:pt>
                <c:pt idx="41">
                  <c:v>11</c:v>
                </c:pt>
                <c:pt idx="42">
                  <c:v>9</c:v>
                </c:pt>
                <c:pt idx="43">
                  <c:v>12</c:v>
                </c:pt>
                <c:pt idx="44">
                  <c:v>7</c:v>
                </c:pt>
                <c:pt idx="45">
                  <c:v>7</c:v>
                </c:pt>
                <c:pt idx="46">
                  <c:v>7</c:v>
                </c:pt>
                <c:pt idx="47">
                  <c:v>17</c:v>
                </c:pt>
                <c:pt idx="48">
                  <c:v>20</c:v>
                </c:pt>
                <c:pt idx="49">
                  <c:v>13</c:v>
                </c:pt>
                <c:pt idx="50">
                  <c:v>28</c:v>
                </c:pt>
                <c:pt idx="51">
                  <c:v>17</c:v>
                </c:pt>
                <c:pt idx="52">
                  <c:v>15</c:v>
                </c:pt>
                <c:pt idx="53">
                  <c:v>21</c:v>
                </c:pt>
                <c:pt idx="54">
                  <c:v>25</c:v>
                </c:pt>
                <c:pt idx="55">
                  <c:v>34</c:v>
                </c:pt>
                <c:pt idx="56">
                  <c:v>42</c:v>
                </c:pt>
                <c:pt idx="57">
                  <c:v>27</c:v>
                </c:pt>
                <c:pt idx="58">
                  <c:v>45</c:v>
                </c:pt>
                <c:pt idx="59">
                  <c:v>36</c:v>
                </c:pt>
                <c:pt idx="60">
                  <c:v>46</c:v>
                </c:pt>
                <c:pt idx="61">
                  <c:v>47</c:v>
                </c:pt>
                <c:pt idx="62">
                  <c:v>52</c:v>
                </c:pt>
                <c:pt idx="63">
                  <c:v>48</c:v>
                </c:pt>
                <c:pt idx="64">
                  <c:v>54</c:v>
                </c:pt>
                <c:pt idx="65">
                  <c:v>43</c:v>
                </c:pt>
                <c:pt idx="66">
                  <c:v>45</c:v>
                </c:pt>
                <c:pt idx="67">
                  <c:v>42</c:v>
                </c:pt>
                <c:pt idx="68">
                  <c:v>40</c:v>
                </c:pt>
                <c:pt idx="69">
                  <c:v>37</c:v>
                </c:pt>
                <c:pt idx="70">
                  <c:v>44</c:v>
                </c:pt>
                <c:pt idx="71">
                  <c:v>43</c:v>
                </c:pt>
                <c:pt idx="72">
                  <c:v>48</c:v>
                </c:pt>
                <c:pt idx="73">
                  <c:v>49</c:v>
                </c:pt>
                <c:pt idx="74">
                  <c:v>36</c:v>
                </c:pt>
                <c:pt idx="75">
                  <c:v>25</c:v>
                </c:pt>
                <c:pt idx="76">
                  <c:v>35</c:v>
                </c:pt>
                <c:pt idx="77">
                  <c:v>41</c:v>
                </c:pt>
                <c:pt idx="78">
                  <c:v>40</c:v>
                </c:pt>
                <c:pt idx="79">
                  <c:v>37</c:v>
                </c:pt>
                <c:pt idx="80">
                  <c:v>34</c:v>
                </c:pt>
                <c:pt idx="81">
                  <c:v>39</c:v>
                </c:pt>
                <c:pt idx="82">
                  <c:v>29</c:v>
                </c:pt>
                <c:pt idx="83">
                  <c:v>37</c:v>
                </c:pt>
                <c:pt idx="84">
                  <c:v>41</c:v>
                </c:pt>
                <c:pt idx="85">
                  <c:v>28</c:v>
                </c:pt>
                <c:pt idx="86">
                  <c:v>36</c:v>
                </c:pt>
                <c:pt idx="87">
                  <c:v>31</c:v>
                </c:pt>
                <c:pt idx="88">
                  <c:v>31</c:v>
                </c:pt>
                <c:pt idx="89">
                  <c:v>27</c:v>
                </c:pt>
                <c:pt idx="90">
                  <c:v>42</c:v>
                </c:pt>
                <c:pt idx="91">
                  <c:v>24</c:v>
                </c:pt>
                <c:pt idx="92">
                  <c:v>25</c:v>
                </c:pt>
                <c:pt idx="93">
                  <c:v>20</c:v>
                </c:pt>
                <c:pt idx="94">
                  <c:v>20</c:v>
                </c:pt>
                <c:pt idx="95">
                  <c:v>30</c:v>
                </c:pt>
                <c:pt idx="96">
                  <c:v>17</c:v>
                </c:pt>
                <c:pt idx="97">
                  <c:v>21</c:v>
                </c:pt>
                <c:pt idx="98">
                  <c:v>19</c:v>
                </c:pt>
                <c:pt idx="99">
                  <c:v>15</c:v>
                </c:pt>
                <c:pt idx="100">
                  <c:v>25</c:v>
                </c:pt>
                <c:pt idx="101">
                  <c:v>19</c:v>
                </c:pt>
                <c:pt idx="102">
                  <c:v>25</c:v>
                </c:pt>
                <c:pt idx="103">
                  <c:v>20</c:v>
                </c:pt>
                <c:pt idx="104">
                  <c:v>23</c:v>
                </c:pt>
                <c:pt idx="105">
                  <c:v>26</c:v>
                </c:pt>
                <c:pt idx="106">
                  <c:v>25</c:v>
                </c:pt>
                <c:pt idx="107">
                  <c:v>30</c:v>
                </c:pt>
                <c:pt idx="108">
                  <c:v>22</c:v>
                </c:pt>
                <c:pt idx="109">
                  <c:v>11</c:v>
                </c:pt>
                <c:pt idx="110">
                  <c:v>11</c:v>
                </c:pt>
                <c:pt idx="111">
                  <c:v>34</c:v>
                </c:pt>
                <c:pt idx="112">
                  <c:v>19</c:v>
                </c:pt>
                <c:pt idx="113">
                  <c:v>22</c:v>
                </c:pt>
                <c:pt idx="114">
                  <c:v>14</c:v>
                </c:pt>
                <c:pt idx="115">
                  <c:v>21</c:v>
                </c:pt>
                <c:pt idx="116">
                  <c:v>20</c:v>
                </c:pt>
                <c:pt idx="117">
                  <c:v>11</c:v>
                </c:pt>
                <c:pt idx="118">
                  <c:v>26</c:v>
                </c:pt>
                <c:pt idx="119">
                  <c:v>13</c:v>
                </c:pt>
                <c:pt idx="120">
                  <c:v>14</c:v>
                </c:pt>
                <c:pt idx="121">
                  <c:v>13</c:v>
                </c:pt>
                <c:pt idx="122">
                  <c:v>14</c:v>
                </c:pt>
                <c:pt idx="123">
                  <c:v>24</c:v>
                </c:pt>
                <c:pt idx="124">
                  <c:v>19</c:v>
                </c:pt>
                <c:pt idx="125">
                  <c:v>20</c:v>
                </c:pt>
                <c:pt idx="126">
                  <c:v>20</c:v>
                </c:pt>
                <c:pt idx="127">
                  <c:v>23</c:v>
                </c:pt>
                <c:pt idx="128">
                  <c:v>15</c:v>
                </c:pt>
                <c:pt idx="129">
                  <c:v>21</c:v>
                </c:pt>
                <c:pt idx="130">
                  <c:v>13</c:v>
                </c:pt>
                <c:pt idx="131">
                  <c:v>14</c:v>
                </c:pt>
                <c:pt idx="132">
                  <c:v>21</c:v>
                </c:pt>
                <c:pt idx="133">
                  <c:v>20</c:v>
                </c:pt>
                <c:pt idx="134">
                  <c:v>18</c:v>
                </c:pt>
                <c:pt idx="135">
                  <c:v>24</c:v>
                </c:pt>
                <c:pt idx="136">
                  <c:v>22</c:v>
                </c:pt>
                <c:pt idx="137">
                  <c:v>17</c:v>
                </c:pt>
                <c:pt idx="138">
                  <c:v>19</c:v>
                </c:pt>
                <c:pt idx="139">
                  <c:v>22</c:v>
                </c:pt>
                <c:pt idx="140">
                  <c:v>19</c:v>
                </c:pt>
                <c:pt idx="141">
                  <c:v>17</c:v>
                </c:pt>
                <c:pt idx="142">
                  <c:v>14</c:v>
                </c:pt>
                <c:pt idx="143">
                  <c:v>15</c:v>
                </c:pt>
                <c:pt idx="144">
                  <c:v>10</c:v>
                </c:pt>
                <c:pt idx="145">
                  <c:v>13</c:v>
                </c:pt>
                <c:pt idx="146">
                  <c:v>10</c:v>
                </c:pt>
                <c:pt idx="147">
                  <c:v>17</c:v>
                </c:pt>
                <c:pt idx="148">
                  <c:v>14</c:v>
                </c:pt>
                <c:pt idx="149">
                  <c:v>16</c:v>
                </c:pt>
                <c:pt idx="150">
                  <c:v>16</c:v>
                </c:pt>
                <c:pt idx="151">
                  <c:v>11</c:v>
                </c:pt>
                <c:pt idx="152">
                  <c:v>11</c:v>
                </c:pt>
                <c:pt idx="153">
                  <c:v>16</c:v>
                </c:pt>
                <c:pt idx="154">
                  <c:v>9</c:v>
                </c:pt>
                <c:pt idx="155">
                  <c:v>9</c:v>
                </c:pt>
                <c:pt idx="156">
                  <c:v>12</c:v>
                </c:pt>
                <c:pt idx="157">
                  <c:v>10</c:v>
                </c:pt>
                <c:pt idx="158">
                  <c:v>8</c:v>
                </c:pt>
                <c:pt idx="159">
                  <c:v>7</c:v>
                </c:pt>
                <c:pt idx="160">
                  <c:v>8</c:v>
                </c:pt>
                <c:pt idx="161">
                  <c:v>9</c:v>
                </c:pt>
                <c:pt idx="162">
                  <c:v>7</c:v>
                </c:pt>
                <c:pt idx="163">
                  <c:v>8</c:v>
                </c:pt>
                <c:pt idx="164">
                  <c:v>12</c:v>
                </c:pt>
                <c:pt idx="165">
                  <c:v>9</c:v>
                </c:pt>
                <c:pt idx="166">
                  <c:v>12</c:v>
                </c:pt>
                <c:pt idx="167">
                  <c:v>12</c:v>
                </c:pt>
                <c:pt idx="168">
                  <c:v>6</c:v>
                </c:pt>
                <c:pt idx="169">
                  <c:v>6</c:v>
                </c:pt>
                <c:pt idx="170">
                  <c:v>4</c:v>
                </c:pt>
                <c:pt idx="171">
                  <c:v>6</c:v>
                </c:pt>
                <c:pt idx="172">
                  <c:v>6</c:v>
                </c:pt>
                <c:pt idx="173">
                  <c:v>5</c:v>
                </c:pt>
                <c:pt idx="174">
                  <c:v>8</c:v>
                </c:pt>
                <c:pt idx="175">
                  <c:v>6</c:v>
                </c:pt>
                <c:pt idx="176">
                  <c:v>5</c:v>
                </c:pt>
                <c:pt idx="177">
                  <c:v>7</c:v>
                </c:pt>
                <c:pt idx="178">
                  <c:v>4</c:v>
                </c:pt>
                <c:pt idx="179">
                  <c:v>6</c:v>
                </c:pt>
                <c:pt idx="180">
                  <c:v>5</c:v>
                </c:pt>
                <c:pt idx="181">
                  <c:v>14</c:v>
                </c:pt>
                <c:pt idx="182">
                  <c:v>16</c:v>
                </c:pt>
                <c:pt idx="183">
                  <c:v>10</c:v>
                </c:pt>
                <c:pt idx="184">
                  <c:v>4</c:v>
                </c:pt>
                <c:pt idx="185">
                  <c:v>6</c:v>
                </c:pt>
                <c:pt idx="186">
                  <c:v>9</c:v>
                </c:pt>
                <c:pt idx="187">
                  <c:v>4</c:v>
                </c:pt>
                <c:pt idx="188">
                  <c:v>5</c:v>
                </c:pt>
                <c:pt idx="189">
                  <c:v>5</c:v>
                </c:pt>
                <c:pt idx="190">
                  <c:v>6</c:v>
                </c:pt>
                <c:pt idx="191">
                  <c:v>2</c:v>
                </c:pt>
                <c:pt idx="192">
                  <c:v>6</c:v>
                </c:pt>
                <c:pt idx="193">
                  <c:v>5</c:v>
                </c:pt>
                <c:pt idx="194">
                  <c:v>6</c:v>
                </c:pt>
                <c:pt idx="195">
                  <c:v>8</c:v>
                </c:pt>
                <c:pt idx="196">
                  <c:v>8</c:v>
                </c:pt>
                <c:pt idx="197">
                  <c:v>5</c:v>
                </c:pt>
                <c:pt idx="198">
                  <c:v>6</c:v>
                </c:pt>
                <c:pt idx="199">
                  <c:v>1</c:v>
                </c:pt>
                <c:pt idx="200">
                  <c:v>5</c:v>
                </c:pt>
                <c:pt idx="201">
                  <c:v>7</c:v>
                </c:pt>
                <c:pt idx="202">
                  <c:v>5</c:v>
                </c:pt>
                <c:pt idx="203">
                  <c:v>2</c:v>
                </c:pt>
                <c:pt idx="204">
                  <c:v>3</c:v>
                </c:pt>
                <c:pt idx="205">
                  <c:v>3</c:v>
                </c:pt>
                <c:pt idx="206">
                  <c:v>4</c:v>
                </c:pt>
                <c:pt idx="207">
                  <c:v>2</c:v>
                </c:pt>
                <c:pt idx="208">
                  <c:v>1</c:v>
                </c:pt>
                <c:pt idx="209">
                  <c:v>4</c:v>
                </c:pt>
                <c:pt idx="210">
                  <c:v>2</c:v>
                </c:pt>
                <c:pt idx="211">
                  <c:v>2</c:v>
                </c:pt>
                <c:pt idx="212">
                  <c:v>1</c:v>
                </c:pt>
                <c:pt idx="213">
                  <c:v>2</c:v>
                </c:pt>
                <c:pt idx="214">
                  <c:v>1</c:v>
                </c:pt>
                <c:pt idx="215">
                  <c:v>2</c:v>
                </c:pt>
                <c:pt idx="216">
                  <c:v>3</c:v>
                </c:pt>
                <c:pt idx="217">
                  <c:v>2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2</c:v>
                </c:pt>
                <c:pt idx="223">
                  <c:v>0</c:v>
                </c:pt>
                <c:pt idx="224">
                  <c:v>2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1</c:v>
                </c:pt>
                <c:pt idx="230">
                  <c:v>1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2</c:v>
                </c:pt>
                <c:pt idx="235">
                  <c:v>1</c:v>
                </c:pt>
                <c:pt idx="236">
                  <c:v>1</c:v>
                </c:pt>
                <c:pt idx="237">
                  <c:v>0</c:v>
                </c:pt>
                <c:pt idx="238">
                  <c:v>1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2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</c:v>
                </c:pt>
                <c:pt idx="256">
                  <c:v>0</c:v>
                </c:pt>
                <c:pt idx="257">
                  <c:v>0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3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1</c:v>
                </c:pt>
                <c:pt idx="284">
                  <c:v>0</c:v>
                </c:pt>
                <c:pt idx="285">
                  <c:v>1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1</c:v>
                </c:pt>
                <c:pt idx="296">
                  <c:v>1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1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1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1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1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1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2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</c:v>
                </c:pt>
                <c:pt idx="409">
                  <c:v>0</c:v>
                </c:pt>
                <c:pt idx="410">
                  <c:v>0</c:v>
                </c:pt>
                <c:pt idx="411">
                  <c:v>2</c:v>
                </c:pt>
                <c:pt idx="412">
                  <c:v>2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0</c:v>
                </c:pt>
                <c:pt idx="418">
                  <c:v>1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3</c:v>
                </c:pt>
                <c:pt idx="424">
                  <c:v>1</c:v>
                </c:pt>
                <c:pt idx="425">
                  <c:v>0</c:v>
                </c:pt>
                <c:pt idx="426">
                  <c:v>1</c:v>
                </c:pt>
                <c:pt idx="427">
                  <c:v>2</c:v>
                </c:pt>
                <c:pt idx="428">
                  <c:v>0</c:v>
                </c:pt>
                <c:pt idx="429">
                  <c:v>2</c:v>
                </c:pt>
                <c:pt idx="430">
                  <c:v>7</c:v>
                </c:pt>
                <c:pt idx="431">
                  <c:v>5</c:v>
                </c:pt>
                <c:pt idx="432">
                  <c:v>3</c:v>
                </c:pt>
                <c:pt idx="433">
                  <c:v>6</c:v>
                </c:pt>
                <c:pt idx="434">
                  <c:v>4</c:v>
                </c:pt>
                <c:pt idx="435">
                  <c:v>3</c:v>
                </c:pt>
                <c:pt idx="436">
                  <c:v>3</c:v>
                </c:pt>
                <c:pt idx="437">
                  <c:v>3</c:v>
                </c:pt>
                <c:pt idx="438">
                  <c:v>5</c:v>
                </c:pt>
                <c:pt idx="439">
                  <c:v>5</c:v>
                </c:pt>
                <c:pt idx="440">
                  <c:v>4</c:v>
                </c:pt>
                <c:pt idx="441">
                  <c:v>1</c:v>
                </c:pt>
                <c:pt idx="442">
                  <c:v>1</c:v>
                </c:pt>
                <c:pt idx="443">
                  <c:v>3</c:v>
                </c:pt>
                <c:pt idx="444" formatCode="General">
                  <c:v>4</c:v>
                </c:pt>
                <c:pt idx="445">
                  <c:v>3</c:v>
                </c:pt>
                <c:pt idx="446">
                  <c:v>3</c:v>
                </c:pt>
                <c:pt idx="447">
                  <c:v>3</c:v>
                </c:pt>
                <c:pt idx="448">
                  <c:v>3</c:v>
                </c:pt>
                <c:pt idx="449">
                  <c:v>3</c:v>
                </c:pt>
                <c:pt idx="45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#\ ##0_ ;\-#\ ##0\ 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51905390317288E-2"/>
          <c:y val="3.5493880780117011E-2"/>
          <c:w val="0.9259736925366634"/>
          <c:h val="0.80491141229830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57</c:f>
              <c:numCache>
                <c:formatCode>m/d/yyyy</c:formatCode>
                <c:ptCount val="356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6</c:v>
                </c:pt>
                <c:pt idx="298">
                  <c:v>44467</c:v>
                </c:pt>
                <c:pt idx="299">
                  <c:v>44468</c:v>
                </c:pt>
                <c:pt idx="300">
                  <c:v>44469</c:v>
                </c:pt>
                <c:pt idx="301">
                  <c:v>44470</c:v>
                </c:pt>
                <c:pt idx="302">
                  <c:v>44471</c:v>
                </c:pt>
                <c:pt idx="303">
                  <c:v>44472</c:v>
                </c:pt>
                <c:pt idx="304">
                  <c:v>44473</c:v>
                </c:pt>
                <c:pt idx="305">
                  <c:v>44474</c:v>
                </c:pt>
                <c:pt idx="306">
                  <c:v>44475</c:v>
                </c:pt>
                <c:pt idx="307">
                  <c:v>44476</c:v>
                </c:pt>
                <c:pt idx="308">
                  <c:v>44477</c:v>
                </c:pt>
                <c:pt idx="309">
                  <c:v>44478</c:v>
                </c:pt>
                <c:pt idx="310">
                  <c:v>44480</c:v>
                </c:pt>
                <c:pt idx="311">
                  <c:v>44481</c:v>
                </c:pt>
                <c:pt idx="312">
                  <c:v>44482</c:v>
                </c:pt>
                <c:pt idx="313">
                  <c:v>44483</c:v>
                </c:pt>
                <c:pt idx="314">
                  <c:v>44484</c:v>
                </c:pt>
                <c:pt idx="315">
                  <c:v>44485</c:v>
                </c:pt>
                <c:pt idx="316">
                  <c:v>44486</c:v>
                </c:pt>
                <c:pt idx="317">
                  <c:v>44487</c:v>
                </c:pt>
                <c:pt idx="318">
                  <c:v>44488</c:v>
                </c:pt>
                <c:pt idx="319">
                  <c:v>44489</c:v>
                </c:pt>
                <c:pt idx="320">
                  <c:v>44490</c:v>
                </c:pt>
                <c:pt idx="321">
                  <c:v>44491</c:v>
                </c:pt>
                <c:pt idx="322">
                  <c:v>44492</c:v>
                </c:pt>
                <c:pt idx="323">
                  <c:v>44493</c:v>
                </c:pt>
                <c:pt idx="324">
                  <c:v>44494</c:v>
                </c:pt>
                <c:pt idx="325">
                  <c:v>44495</c:v>
                </c:pt>
                <c:pt idx="326">
                  <c:v>44496</c:v>
                </c:pt>
                <c:pt idx="327">
                  <c:v>44497</c:v>
                </c:pt>
                <c:pt idx="328">
                  <c:v>44498</c:v>
                </c:pt>
                <c:pt idx="329">
                  <c:v>44499</c:v>
                </c:pt>
                <c:pt idx="330">
                  <c:v>44500</c:v>
                </c:pt>
                <c:pt idx="331">
                  <c:v>44501</c:v>
                </c:pt>
                <c:pt idx="332">
                  <c:v>44502</c:v>
                </c:pt>
                <c:pt idx="333">
                  <c:v>44503</c:v>
                </c:pt>
                <c:pt idx="334">
                  <c:v>44504</c:v>
                </c:pt>
                <c:pt idx="335">
                  <c:v>44505</c:v>
                </c:pt>
                <c:pt idx="336">
                  <c:v>44506</c:v>
                </c:pt>
                <c:pt idx="337">
                  <c:v>44507</c:v>
                </c:pt>
                <c:pt idx="338">
                  <c:v>44508</c:v>
                </c:pt>
                <c:pt idx="339">
                  <c:v>44509</c:v>
                </c:pt>
                <c:pt idx="340">
                  <c:v>44510</c:v>
                </c:pt>
                <c:pt idx="341">
                  <c:v>44511</c:v>
                </c:pt>
                <c:pt idx="342">
                  <c:v>44512</c:v>
                </c:pt>
                <c:pt idx="343">
                  <c:v>44513</c:v>
                </c:pt>
                <c:pt idx="344">
                  <c:v>44514</c:v>
                </c:pt>
                <c:pt idx="345">
                  <c:v>44515</c:v>
                </c:pt>
                <c:pt idx="346">
                  <c:v>44516</c:v>
                </c:pt>
                <c:pt idx="347">
                  <c:v>44517</c:v>
                </c:pt>
                <c:pt idx="348">
                  <c:v>44518</c:v>
                </c:pt>
                <c:pt idx="349">
                  <c:v>44519</c:v>
                </c:pt>
                <c:pt idx="350">
                  <c:v>44520</c:v>
                </c:pt>
                <c:pt idx="351">
                  <c:v>44521</c:v>
                </c:pt>
                <c:pt idx="352">
                  <c:v>44522</c:v>
                </c:pt>
                <c:pt idx="353">
                  <c:v>44523</c:v>
                </c:pt>
                <c:pt idx="354">
                  <c:v>44524</c:v>
                </c:pt>
                <c:pt idx="355">
                  <c:v>44525</c:v>
                </c:pt>
              </c:numCache>
            </c:numRef>
          </c:cat>
          <c:val>
            <c:numRef>
              <c:f>Sheet1!$B$2:$B$357</c:f>
              <c:numCache>
                <c:formatCode>General</c:formatCode>
                <c:ptCount val="356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4</c:v>
                </c:pt>
                <c:pt idx="23">
                  <c:v>1</c:v>
                </c:pt>
                <c:pt idx="24">
                  <c:v>8</c:v>
                </c:pt>
                <c:pt idx="25">
                  <c:v>9</c:v>
                </c:pt>
                <c:pt idx="26">
                  <c:v>18</c:v>
                </c:pt>
                <c:pt idx="27">
                  <c:v>9</c:v>
                </c:pt>
                <c:pt idx="28">
                  <c:v>7</c:v>
                </c:pt>
                <c:pt idx="29">
                  <c:v>42</c:v>
                </c:pt>
                <c:pt idx="30">
                  <c:v>15</c:v>
                </c:pt>
                <c:pt idx="31">
                  <c:v>8</c:v>
                </c:pt>
                <c:pt idx="32">
                  <c:v>16</c:v>
                </c:pt>
                <c:pt idx="33">
                  <c:v>28</c:v>
                </c:pt>
                <c:pt idx="34">
                  <c:v>12</c:v>
                </c:pt>
                <c:pt idx="35">
                  <c:v>2</c:v>
                </c:pt>
                <c:pt idx="36">
                  <c:v>28</c:v>
                </c:pt>
                <c:pt idx="37">
                  <c:v>35</c:v>
                </c:pt>
                <c:pt idx="38">
                  <c:v>49</c:v>
                </c:pt>
                <c:pt idx="39">
                  <c:v>30</c:v>
                </c:pt>
                <c:pt idx="40">
                  <c:v>40</c:v>
                </c:pt>
                <c:pt idx="41">
                  <c:v>25</c:v>
                </c:pt>
                <c:pt idx="42">
                  <c:v>16</c:v>
                </c:pt>
                <c:pt idx="43">
                  <c:v>42</c:v>
                </c:pt>
                <c:pt idx="44">
                  <c:v>40</c:v>
                </c:pt>
                <c:pt idx="45">
                  <c:v>52</c:v>
                </c:pt>
                <c:pt idx="46">
                  <c:v>61</c:v>
                </c:pt>
                <c:pt idx="47">
                  <c:v>74</c:v>
                </c:pt>
                <c:pt idx="48">
                  <c:v>45</c:v>
                </c:pt>
                <c:pt idx="49">
                  <c:v>33</c:v>
                </c:pt>
                <c:pt idx="50">
                  <c:v>78</c:v>
                </c:pt>
                <c:pt idx="51">
                  <c:v>69</c:v>
                </c:pt>
                <c:pt idx="52">
                  <c:v>42</c:v>
                </c:pt>
                <c:pt idx="53">
                  <c:v>84</c:v>
                </c:pt>
                <c:pt idx="54">
                  <c:v>94</c:v>
                </c:pt>
                <c:pt idx="55">
                  <c:v>37</c:v>
                </c:pt>
                <c:pt idx="56">
                  <c:v>37</c:v>
                </c:pt>
                <c:pt idx="57">
                  <c:v>62</c:v>
                </c:pt>
                <c:pt idx="58">
                  <c:v>62</c:v>
                </c:pt>
                <c:pt idx="59">
                  <c:v>64</c:v>
                </c:pt>
                <c:pt idx="60">
                  <c:v>76</c:v>
                </c:pt>
                <c:pt idx="61">
                  <c:v>84</c:v>
                </c:pt>
                <c:pt idx="62">
                  <c:v>31</c:v>
                </c:pt>
                <c:pt idx="63">
                  <c:v>16</c:v>
                </c:pt>
                <c:pt idx="64">
                  <c:v>53</c:v>
                </c:pt>
                <c:pt idx="65">
                  <c:v>71</c:v>
                </c:pt>
                <c:pt idx="66">
                  <c:v>117</c:v>
                </c:pt>
                <c:pt idx="67">
                  <c:v>91</c:v>
                </c:pt>
                <c:pt idx="68">
                  <c:v>77</c:v>
                </c:pt>
                <c:pt idx="69">
                  <c:v>42</c:v>
                </c:pt>
                <c:pt idx="70">
                  <c:v>23</c:v>
                </c:pt>
                <c:pt idx="71">
                  <c:v>65</c:v>
                </c:pt>
                <c:pt idx="72">
                  <c:v>26</c:v>
                </c:pt>
                <c:pt idx="73">
                  <c:v>48</c:v>
                </c:pt>
                <c:pt idx="74">
                  <c:v>59</c:v>
                </c:pt>
                <c:pt idx="75">
                  <c:v>49</c:v>
                </c:pt>
                <c:pt idx="76">
                  <c:v>18</c:v>
                </c:pt>
                <c:pt idx="77">
                  <c:v>13</c:v>
                </c:pt>
                <c:pt idx="78">
                  <c:v>65</c:v>
                </c:pt>
                <c:pt idx="79">
                  <c:v>40</c:v>
                </c:pt>
                <c:pt idx="80">
                  <c:v>25</c:v>
                </c:pt>
                <c:pt idx="81">
                  <c:v>34</c:v>
                </c:pt>
                <c:pt idx="82">
                  <c:v>28</c:v>
                </c:pt>
                <c:pt idx="83">
                  <c:v>15</c:v>
                </c:pt>
                <c:pt idx="84">
                  <c:v>13</c:v>
                </c:pt>
                <c:pt idx="85">
                  <c:v>42</c:v>
                </c:pt>
                <c:pt idx="86">
                  <c:v>33</c:v>
                </c:pt>
                <c:pt idx="87">
                  <c:v>27</c:v>
                </c:pt>
                <c:pt idx="88">
                  <c:v>21</c:v>
                </c:pt>
                <c:pt idx="89">
                  <c:v>36</c:v>
                </c:pt>
                <c:pt idx="90">
                  <c:v>20</c:v>
                </c:pt>
                <c:pt idx="91">
                  <c:v>10</c:v>
                </c:pt>
                <c:pt idx="92">
                  <c:v>34</c:v>
                </c:pt>
                <c:pt idx="93">
                  <c:v>28</c:v>
                </c:pt>
                <c:pt idx="94">
                  <c:v>32</c:v>
                </c:pt>
                <c:pt idx="95">
                  <c:v>24</c:v>
                </c:pt>
                <c:pt idx="96">
                  <c:v>32</c:v>
                </c:pt>
                <c:pt idx="97">
                  <c:v>18</c:v>
                </c:pt>
                <c:pt idx="98">
                  <c:v>24</c:v>
                </c:pt>
                <c:pt idx="99">
                  <c:v>36</c:v>
                </c:pt>
                <c:pt idx="100">
                  <c:v>26</c:v>
                </c:pt>
                <c:pt idx="101">
                  <c:v>27</c:v>
                </c:pt>
                <c:pt idx="102">
                  <c:v>14</c:v>
                </c:pt>
                <c:pt idx="103">
                  <c:v>40</c:v>
                </c:pt>
                <c:pt idx="104">
                  <c:v>15</c:v>
                </c:pt>
                <c:pt idx="105">
                  <c:v>6</c:v>
                </c:pt>
                <c:pt idx="106">
                  <c:v>29</c:v>
                </c:pt>
                <c:pt idx="107">
                  <c:v>41</c:v>
                </c:pt>
                <c:pt idx="108">
                  <c:v>20</c:v>
                </c:pt>
                <c:pt idx="109">
                  <c:v>5</c:v>
                </c:pt>
                <c:pt idx="110">
                  <c:v>21</c:v>
                </c:pt>
                <c:pt idx="111">
                  <c:v>17</c:v>
                </c:pt>
                <c:pt idx="112">
                  <c:v>19</c:v>
                </c:pt>
                <c:pt idx="113">
                  <c:v>20</c:v>
                </c:pt>
                <c:pt idx="114">
                  <c:v>44</c:v>
                </c:pt>
                <c:pt idx="115">
                  <c:v>25</c:v>
                </c:pt>
                <c:pt idx="116">
                  <c:v>36</c:v>
                </c:pt>
                <c:pt idx="117">
                  <c:v>19</c:v>
                </c:pt>
                <c:pt idx="118">
                  <c:v>14</c:v>
                </c:pt>
                <c:pt idx="119">
                  <c:v>4</c:v>
                </c:pt>
                <c:pt idx="120">
                  <c:v>31</c:v>
                </c:pt>
                <c:pt idx="121">
                  <c:v>30</c:v>
                </c:pt>
                <c:pt idx="122">
                  <c:v>40</c:v>
                </c:pt>
                <c:pt idx="123">
                  <c:v>40</c:v>
                </c:pt>
                <c:pt idx="124">
                  <c:v>32</c:v>
                </c:pt>
                <c:pt idx="125">
                  <c:v>15</c:v>
                </c:pt>
                <c:pt idx="126">
                  <c:v>8</c:v>
                </c:pt>
                <c:pt idx="127">
                  <c:v>50</c:v>
                </c:pt>
                <c:pt idx="128">
                  <c:v>24</c:v>
                </c:pt>
                <c:pt idx="129">
                  <c:v>22</c:v>
                </c:pt>
                <c:pt idx="130">
                  <c:v>13</c:v>
                </c:pt>
                <c:pt idx="131">
                  <c:v>20</c:v>
                </c:pt>
                <c:pt idx="132">
                  <c:v>12</c:v>
                </c:pt>
                <c:pt idx="133">
                  <c:v>15</c:v>
                </c:pt>
                <c:pt idx="134">
                  <c:v>29</c:v>
                </c:pt>
                <c:pt idx="135">
                  <c:v>23</c:v>
                </c:pt>
                <c:pt idx="136">
                  <c:v>38</c:v>
                </c:pt>
                <c:pt idx="137">
                  <c:v>23</c:v>
                </c:pt>
                <c:pt idx="138">
                  <c:v>21</c:v>
                </c:pt>
                <c:pt idx="139">
                  <c:v>7</c:v>
                </c:pt>
                <c:pt idx="140">
                  <c:v>9</c:v>
                </c:pt>
                <c:pt idx="141">
                  <c:v>22</c:v>
                </c:pt>
                <c:pt idx="142">
                  <c:v>11</c:v>
                </c:pt>
                <c:pt idx="143">
                  <c:v>21</c:v>
                </c:pt>
                <c:pt idx="144">
                  <c:v>11</c:v>
                </c:pt>
                <c:pt idx="145">
                  <c:v>8</c:v>
                </c:pt>
                <c:pt idx="146">
                  <c:v>9</c:v>
                </c:pt>
                <c:pt idx="147">
                  <c:v>5</c:v>
                </c:pt>
                <c:pt idx="148">
                  <c:v>20</c:v>
                </c:pt>
                <c:pt idx="149">
                  <c:v>20</c:v>
                </c:pt>
                <c:pt idx="150">
                  <c:v>13</c:v>
                </c:pt>
                <c:pt idx="151">
                  <c:v>20</c:v>
                </c:pt>
                <c:pt idx="152">
                  <c:v>15</c:v>
                </c:pt>
                <c:pt idx="153">
                  <c:v>5</c:v>
                </c:pt>
                <c:pt idx="154">
                  <c:v>5</c:v>
                </c:pt>
                <c:pt idx="155">
                  <c:v>13</c:v>
                </c:pt>
                <c:pt idx="156">
                  <c:v>15</c:v>
                </c:pt>
                <c:pt idx="157">
                  <c:v>16</c:v>
                </c:pt>
                <c:pt idx="158">
                  <c:v>11</c:v>
                </c:pt>
                <c:pt idx="159">
                  <c:v>13</c:v>
                </c:pt>
                <c:pt idx="160">
                  <c:v>2</c:v>
                </c:pt>
                <c:pt idx="161">
                  <c:v>3</c:v>
                </c:pt>
                <c:pt idx="162">
                  <c:v>8</c:v>
                </c:pt>
                <c:pt idx="163">
                  <c:v>7</c:v>
                </c:pt>
                <c:pt idx="164">
                  <c:v>7</c:v>
                </c:pt>
                <c:pt idx="165">
                  <c:v>9</c:v>
                </c:pt>
                <c:pt idx="166">
                  <c:v>5</c:v>
                </c:pt>
                <c:pt idx="167">
                  <c:v>10</c:v>
                </c:pt>
                <c:pt idx="168">
                  <c:v>3</c:v>
                </c:pt>
                <c:pt idx="169">
                  <c:v>21</c:v>
                </c:pt>
                <c:pt idx="170">
                  <c:v>14</c:v>
                </c:pt>
                <c:pt idx="171">
                  <c:v>7</c:v>
                </c:pt>
                <c:pt idx="172">
                  <c:v>11</c:v>
                </c:pt>
                <c:pt idx="173">
                  <c:v>7</c:v>
                </c:pt>
                <c:pt idx="174">
                  <c:v>3</c:v>
                </c:pt>
                <c:pt idx="175">
                  <c:v>1</c:v>
                </c:pt>
                <c:pt idx="176">
                  <c:v>10</c:v>
                </c:pt>
                <c:pt idx="177">
                  <c:v>7</c:v>
                </c:pt>
                <c:pt idx="178">
                  <c:v>8</c:v>
                </c:pt>
                <c:pt idx="179">
                  <c:v>4</c:v>
                </c:pt>
                <c:pt idx="180">
                  <c:v>6</c:v>
                </c:pt>
                <c:pt idx="181">
                  <c:v>2</c:v>
                </c:pt>
                <c:pt idx="182">
                  <c:v>3</c:v>
                </c:pt>
                <c:pt idx="183">
                  <c:v>6</c:v>
                </c:pt>
                <c:pt idx="184">
                  <c:v>7</c:v>
                </c:pt>
                <c:pt idx="185">
                  <c:v>10</c:v>
                </c:pt>
                <c:pt idx="186">
                  <c:v>3</c:v>
                </c:pt>
                <c:pt idx="187">
                  <c:v>5</c:v>
                </c:pt>
                <c:pt idx="188">
                  <c:v>5</c:v>
                </c:pt>
                <c:pt idx="189">
                  <c:v>3</c:v>
                </c:pt>
                <c:pt idx="190">
                  <c:v>8</c:v>
                </c:pt>
                <c:pt idx="191">
                  <c:v>9</c:v>
                </c:pt>
                <c:pt idx="192">
                  <c:v>1</c:v>
                </c:pt>
                <c:pt idx="193">
                  <c:v>8</c:v>
                </c:pt>
                <c:pt idx="194">
                  <c:v>11</c:v>
                </c:pt>
                <c:pt idx="195">
                  <c:v>3</c:v>
                </c:pt>
                <c:pt idx="196">
                  <c:v>2</c:v>
                </c:pt>
                <c:pt idx="197">
                  <c:v>6</c:v>
                </c:pt>
                <c:pt idx="198">
                  <c:v>7</c:v>
                </c:pt>
                <c:pt idx="199">
                  <c:v>2</c:v>
                </c:pt>
                <c:pt idx="200">
                  <c:v>2</c:v>
                </c:pt>
                <c:pt idx="201">
                  <c:v>1</c:v>
                </c:pt>
                <c:pt idx="202">
                  <c:v>2</c:v>
                </c:pt>
                <c:pt idx="203">
                  <c:v>0</c:v>
                </c:pt>
                <c:pt idx="204">
                  <c:v>2</c:v>
                </c:pt>
                <c:pt idx="205">
                  <c:v>1</c:v>
                </c:pt>
                <c:pt idx="206">
                  <c:v>1</c:v>
                </c:pt>
                <c:pt idx="207">
                  <c:v>2</c:v>
                </c:pt>
                <c:pt idx="208">
                  <c:v>1</c:v>
                </c:pt>
                <c:pt idx="209">
                  <c:v>2</c:v>
                </c:pt>
                <c:pt idx="210">
                  <c:v>2</c:v>
                </c:pt>
                <c:pt idx="211">
                  <c:v>0</c:v>
                </c:pt>
                <c:pt idx="212">
                  <c:v>0</c:v>
                </c:pt>
                <c:pt idx="213">
                  <c:v>5</c:v>
                </c:pt>
                <c:pt idx="214">
                  <c:v>0</c:v>
                </c:pt>
                <c:pt idx="215">
                  <c:v>1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3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</c:v>
                </c:pt>
                <c:pt idx="226">
                  <c:v>1</c:v>
                </c:pt>
                <c:pt idx="227">
                  <c:v>2</c:v>
                </c:pt>
                <c:pt idx="228">
                  <c:v>2</c:v>
                </c:pt>
                <c:pt idx="229">
                  <c:v>1</c:v>
                </c:pt>
                <c:pt idx="230">
                  <c:v>0</c:v>
                </c:pt>
                <c:pt idx="231">
                  <c:v>0</c:v>
                </c:pt>
                <c:pt idx="232">
                  <c:v>4</c:v>
                </c:pt>
                <c:pt idx="233">
                  <c:v>0</c:v>
                </c:pt>
                <c:pt idx="234">
                  <c:v>1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1</c:v>
                </c:pt>
                <c:pt idx="242">
                  <c:v>0</c:v>
                </c:pt>
                <c:pt idx="243">
                  <c:v>2</c:v>
                </c:pt>
                <c:pt idx="244">
                  <c:v>3</c:v>
                </c:pt>
                <c:pt idx="245">
                  <c:v>1</c:v>
                </c:pt>
                <c:pt idx="246">
                  <c:v>2</c:v>
                </c:pt>
                <c:pt idx="247">
                  <c:v>2</c:v>
                </c:pt>
                <c:pt idx="248">
                  <c:v>1</c:v>
                </c:pt>
                <c:pt idx="249">
                  <c:v>1</c:v>
                </c:pt>
                <c:pt idx="250">
                  <c:v>0</c:v>
                </c:pt>
                <c:pt idx="251">
                  <c:v>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2</c:v>
                </c:pt>
                <c:pt idx="258">
                  <c:v>1</c:v>
                </c:pt>
                <c:pt idx="259">
                  <c:v>0</c:v>
                </c:pt>
                <c:pt idx="260">
                  <c:v>1</c:v>
                </c:pt>
                <c:pt idx="261">
                  <c:v>1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</c:v>
                </c:pt>
                <c:pt idx="266">
                  <c:v>1</c:v>
                </c:pt>
                <c:pt idx="267">
                  <c:v>0</c:v>
                </c:pt>
                <c:pt idx="268">
                  <c:v>0</c:v>
                </c:pt>
                <c:pt idx="269">
                  <c:v>1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1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2</c:v>
                </c:pt>
                <c:pt idx="282">
                  <c:v>2</c:v>
                </c:pt>
                <c:pt idx="283">
                  <c:v>1</c:v>
                </c:pt>
                <c:pt idx="284">
                  <c:v>0</c:v>
                </c:pt>
                <c:pt idx="285">
                  <c:v>2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1</c:v>
                </c:pt>
                <c:pt idx="295">
                  <c:v>0</c:v>
                </c:pt>
                <c:pt idx="296">
                  <c:v>0</c:v>
                </c:pt>
                <c:pt idx="297">
                  <c:v>1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1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3</c:v>
                </c:pt>
                <c:pt idx="307">
                  <c:v>1</c:v>
                </c:pt>
                <c:pt idx="308">
                  <c:v>2</c:v>
                </c:pt>
                <c:pt idx="309">
                  <c:v>0</c:v>
                </c:pt>
                <c:pt idx="310">
                  <c:v>1</c:v>
                </c:pt>
                <c:pt idx="311">
                  <c:v>0</c:v>
                </c:pt>
                <c:pt idx="312">
                  <c:v>3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4</c:v>
                </c:pt>
                <c:pt idx="318">
                  <c:v>0</c:v>
                </c:pt>
                <c:pt idx="319">
                  <c:v>1</c:v>
                </c:pt>
                <c:pt idx="320">
                  <c:v>0</c:v>
                </c:pt>
                <c:pt idx="321">
                  <c:v>2</c:v>
                </c:pt>
                <c:pt idx="322">
                  <c:v>0</c:v>
                </c:pt>
                <c:pt idx="323">
                  <c:v>0</c:v>
                </c:pt>
                <c:pt idx="324">
                  <c:v>4</c:v>
                </c:pt>
                <c:pt idx="325">
                  <c:v>2</c:v>
                </c:pt>
                <c:pt idx="326">
                  <c:v>2</c:v>
                </c:pt>
                <c:pt idx="327">
                  <c:v>0</c:v>
                </c:pt>
                <c:pt idx="328">
                  <c:v>5</c:v>
                </c:pt>
                <c:pt idx="329">
                  <c:v>3</c:v>
                </c:pt>
                <c:pt idx="330">
                  <c:v>2</c:v>
                </c:pt>
                <c:pt idx="331">
                  <c:v>8</c:v>
                </c:pt>
                <c:pt idx="332">
                  <c:v>6</c:v>
                </c:pt>
                <c:pt idx="333">
                  <c:v>5</c:v>
                </c:pt>
                <c:pt idx="334">
                  <c:v>3</c:v>
                </c:pt>
                <c:pt idx="335">
                  <c:v>6</c:v>
                </c:pt>
                <c:pt idx="336">
                  <c:v>1</c:v>
                </c:pt>
                <c:pt idx="337">
                  <c:v>1</c:v>
                </c:pt>
                <c:pt idx="338">
                  <c:v>5</c:v>
                </c:pt>
                <c:pt idx="339">
                  <c:v>6</c:v>
                </c:pt>
                <c:pt idx="340">
                  <c:v>3</c:v>
                </c:pt>
                <c:pt idx="341">
                  <c:v>6</c:v>
                </c:pt>
                <c:pt idx="342">
                  <c:v>1</c:v>
                </c:pt>
                <c:pt idx="343">
                  <c:v>5</c:v>
                </c:pt>
                <c:pt idx="344">
                  <c:v>2</c:v>
                </c:pt>
                <c:pt idx="345">
                  <c:v>6</c:v>
                </c:pt>
                <c:pt idx="346">
                  <c:v>6</c:v>
                </c:pt>
                <c:pt idx="347">
                  <c:v>4</c:v>
                </c:pt>
                <c:pt idx="348">
                  <c:v>10</c:v>
                </c:pt>
                <c:pt idx="349">
                  <c:v>6</c:v>
                </c:pt>
                <c:pt idx="350">
                  <c:v>1</c:v>
                </c:pt>
                <c:pt idx="351">
                  <c:v>2</c:v>
                </c:pt>
                <c:pt idx="352">
                  <c:v>5</c:v>
                </c:pt>
                <c:pt idx="353">
                  <c:v>0</c:v>
                </c:pt>
                <c:pt idx="354">
                  <c:v>6</c:v>
                </c:pt>
                <c:pt idx="35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nákaz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T$1</c:f>
              <c:strCache>
                <c:ptCount val="19"/>
                <c:pt idx="0">
                  <c:v>05/2020</c:v>
                </c:pt>
                <c:pt idx="1">
                  <c:v>06/2020</c:v>
                </c:pt>
                <c:pt idx="2">
                  <c:v>07/2020</c:v>
                </c:pt>
                <c:pt idx="3">
                  <c:v>08/2020</c:v>
                </c:pt>
                <c:pt idx="4">
                  <c:v>09/2020</c:v>
                </c:pt>
                <c:pt idx="5">
                  <c:v>10/2020</c:v>
                </c:pt>
                <c:pt idx="6">
                  <c:v>11/2020</c:v>
                </c:pt>
                <c:pt idx="7">
                  <c:v>12/2020</c:v>
                </c:pt>
                <c:pt idx="8">
                  <c:v>01/2021</c:v>
                </c:pt>
                <c:pt idx="9">
                  <c:v>02/2021</c:v>
                </c:pt>
                <c:pt idx="10">
                  <c:v>03/2021</c:v>
                </c:pt>
                <c:pt idx="11">
                  <c:v>04/2021</c:v>
                </c:pt>
                <c:pt idx="12">
                  <c:v>05/2021</c:v>
                </c:pt>
                <c:pt idx="13">
                  <c:v>06/2021</c:v>
                </c:pt>
                <c:pt idx="14">
                  <c:v>07/2021</c:v>
                </c:pt>
                <c:pt idx="15">
                  <c:v>08/2021</c:v>
                </c:pt>
                <c:pt idx="16">
                  <c:v>09/2021</c:v>
                </c:pt>
                <c:pt idx="17">
                  <c:v>10/2021</c:v>
                </c:pt>
                <c:pt idx="18">
                  <c:v>11/2021</c:v>
                </c:pt>
              </c:strCache>
            </c:strRef>
          </c:cat>
          <c:val>
            <c:numRef>
              <c:f>List1!$B$2:$T$2</c:f>
              <c:numCache>
                <c:formatCode>General</c:formatCode>
                <c:ptCount val="19"/>
                <c:pt idx="0">
                  <c:v>110</c:v>
                </c:pt>
                <c:pt idx="1">
                  <c:v>84</c:v>
                </c:pt>
                <c:pt idx="2">
                  <c:v>112</c:v>
                </c:pt>
                <c:pt idx="3">
                  <c:v>240</c:v>
                </c:pt>
                <c:pt idx="4">
                  <c:v>1126</c:v>
                </c:pt>
                <c:pt idx="5">
                  <c:v>9694</c:v>
                </c:pt>
                <c:pt idx="6">
                  <c:v>8383</c:v>
                </c:pt>
                <c:pt idx="7">
                  <c:v>4588</c:v>
                </c:pt>
                <c:pt idx="8">
                  <c:v>3340</c:v>
                </c:pt>
                <c:pt idx="9">
                  <c:v>1800</c:v>
                </c:pt>
                <c:pt idx="10">
                  <c:v>968</c:v>
                </c:pt>
                <c:pt idx="11">
                  <c:v>135</c:v>
                </c:pt>
                <c:pt idx="12">
                  <c:v>23</c:v>
                </c:pt>
                <c:pt idx="13">
                  <c:v>7</c:v>
                </c:pt>
                <c:pt idx="14">
                  <c:v>8</c:v>
                </c:pt>
                <c:pt idx="15">
                  <c:v>10</c:v>
                </c:pt>
                <c:pt idx="16">
                  <c:v>93</c:v>
                </c:pt>
                <c:pt idx="17">
                  <c:v>158</c:v>
                </c:pt>
                <c:pt idx="18">
                  <c:v>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23-4197-8781-6EB6A238F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75794495043021E-2"/>
          <c:y val="3.3230967698252123E-2"/>
          <c:w val="0.95352420550495698"/>
          <c:h val="0.9122477943279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357</c:f>
              <c:numCache>
                <c:formatCode>m/d/yyyy</c:formatCode>
                <c:ptCount val="356"/>
                <c:pt idx="0">
                  <c:v>44075</c:v>
                </c:pt>
                <c:pt idx="1">
                  <c:v>44078</c:v>
                </c:pt>
                <c:pt idx="2">
                  <c:v>44082</c:v>
                </c:pt>
                <c:pt idx="3">
                  <c:v>44083</c:v>
                </c:pt>
                <c:pt idx="4">
                  <c:v>44084</c:v>
                </c:pt>
                <c:pt idx="5">
                  <c:v>44085</c:v>
                </c:pt>
                <c:pt idx="6">
                  <c:v>44086</c:v>
                </c:pt>
                <c:pt idx="7">
                  <c:v>44087</c:v>
                </c:pt>
                <c:pt idx="8">
                  <c:v>44088</c:v>
                </c:pt>
                <c:pt idx="9">
                  <c:v>44089</c:v>
                </c:pt>
                <c:pt idx="10">
                  <c:v>44090</c:v>
                </c:pt>
                <c:pt idx="11">
                  <c:v>44091</c:v>
                </c:pt>
                <c:pt idx="12">
                  <c:v>44092</c:v>
                </c:pt>
                <c:pt idx="13">
                  <c:v>44093</c:v>
                </c:pt>
                <c:pt idx="14">
                  <c:v>44094</c:v>
                </c:pt>
                <c:pt idx="15">
                  <c:v>44095</c:v>
                </c:pt>
                <c:pt idx="16">
                  <c:v>44096</c:v>
                </c:pt>
                <c:pt idx="17">
                  <c:v>44097</c:v>
                </c:pt>
                <c:pt idx="18">
                  <c:v>44098</c:v>
                </c:pt>
                <c:pt idx="19">
                  <c:v>44099</c:v>
                </c:pt>
                <c:pt idx="20">
                  <c:v>44100</c:v>
                </c:pt>
                <c:pt idx="21">
                  <c:v>44101</c:v>
                </c:pt>
                <c:pt idx="22">
                  <c:v>44102</c:v>
                </c:pt>
                <c:pt idx="23">
                  <c:v>44103</c:v>
                </c:pt>
                <c:pt idx="24">
                  <c:v>44104</c:v>
                </c:pt>
                <c:pt idx="25">
                  <c:v>44105</c:v>
                </c:pt>
                <c:pt idx="26">
                  <c:v>44106</c:v>
                </c:pt>
                <c:pt idx="27">
                  <c:v>44107</c:v>
                </c:pt>
                <c:pt idx="28">
                  <c:v>44108</c:v>
                </c:pt>
                <c:pt idx="29">
                  <c:v>44109</c:v>
                </c:pt>
                <c:pt idx="30">
                  <c:v>44110</c:v>
                </c:pt>
                <c:pt idx="31">
                  <c:v>44111</c:v>
                </c:pt>
                <c:pt idx="32">
                  <c:v>44112</c:v>
                </c:pt>
                <c:pt idx="33">
                  <c:v>44113</c:v>
                </c:pt>
                <c:pt idx="34">
                  <c:v>44114</c:v>
                </c:pt>
                <c:pt idx="35">
                  <c:v>44115</c:v>
                </c:pt>
                <c:pt idx="36">
                  <c:v>44116</c:v>
                </c:pt>
                <c:pt idx="37">
                  <c:v>44117</c:v>
                </c:pt>
                <c:pt idx="38">
                  <c:v>44118</c:v>
                </c:pt>
                <c:pt idx="39">
                  <c:v>44119</c:v>
                </c:pt>
                <c:pt idx="40">
                  <c:v>44120</c:v>
                </c:pt>
                <c:pt idx="41">
                  <c:v>44121</c:v>
                </c:pt>
                <c:pt idx="42">
                  <c:v>44122</c:v>
                </c:pt>
                <c:pt idx="43">
                  <c:v>44123</c:v>
                </c:pt>
                <c:pt idx="44">
                  <c:v>44124</c:v>
                </c:pt>
                <c:pt idx="45">
                  <c:v>44125</c:v>
                </c:pt>
                <c:pt idx="46">
                  <c:v>44126</c:v>
                </c:pt>
                <c:pt idx="47">
                  <c:v>44127</c:v>
                </c:pt>
                <c:pt idx="48">
                  <c:v>44128</c:v>
                </c:pt>
                <c:pt idx="49">
                  <c:v>44129</c:v>
                </c:pt>
                <c:pt idx="50">
                  <c:v>44130</c:v>
                </c:pt>
                <c:pt idx="51">
                  <c:v>44131</c:v>
                </c:pt>
                <c:pt idx="52">
                  <c:v>44132</c:v>
                </c:pt>
                <c:pt idx="53">
                  <c:v>44133</c:v>
                </c:pt>
                <c:pt idx="54">
                  <c:v>44134</c:v>
                </c:pt>
                <c:pt idx="55">
                  <c:v>44135</c:v>
                </c:pt>
                <c:pt idx="56">
                  <c:v>44136</c:v>
                </c:pt>
                <c:pt idx="57">
                  <c:v>44137</c:v>
                </c:pt>
                <c:pt idx="58">
                  <c:v>44138</c:v>
                </c:pt>
                <c:pt idx="59">
                  <c:v>44139</c:v>
                </c:pt>
                <c:pt idx="60">
                  <c:v>44140</c:v>
                </c:pt>
                <c:pt idx="61">
                  <c:v>44141</c:v>
                </c:pt>
                <c:pt idx="62">
                  <c:v>44142</c:v>
                </c:pt>
                <c:pt idx="63">
                  <c:v>44143</c:v>
                </c:pt>
                <c:pt idx="64">
                  <c:v>44144</c:v>
                </c:pt>
                <c:pt idx="65">
                  <c:v>44145</c:v>
                </c:pt>
                <c:pt idx="66">
                  <c:v>44146</c:v>
                </c:pt>
                <c:pt idx="67">
                  <c:v>44147</c:v>
                </c:pt>
                <c:pt idx="68">
                  <c:v>44148</c:v>
                </c:pt>
                <c:pt idx="69">
                  <c:v>44149</c:v>
                </c:pt>
                <c:pt idx="70">
                  <c:v>44150</c:v>
                </c:pt>
                <c:pt idx="71">
                  <c:v>44151</c:v>
                </c:pt>
                <c:pt idx="72">
                  <c:v>44152</c:v>
                </c:pt>
                <c:pt idx="73">
                  <c:v>44153</c:v>
                </c:pt>
                <c:pt idx="74">
                  <c:v>44154</c:v>
                </c:pt>
                <c:pt idx="75">
                  <c:v>44155</c:v>
                </c:pt>
                <c:pt idx="76">
                  <c:v>44156</c:v>
                </c:pt>
                <c:pt idx="77">
                  <c:v>44157</c:v>
                </c:pt>
                <c:pt idx="78">
                  <c:v>44158</c:v>
                </c:pt>
                <c:pt idx="79">
                  <c:v>44159</c:v>
                </c:pt>
                <c:pt idx="80">
                  <c:v>44160</c:v>
                </c:pt>
                <c:pt idx="81">
                  <c:v>44161</c:v>
                </c:pt>
                <c:pt idx="82">
                  <c:v>44162</c:v>
                </c:pt>
                <c:pt idx="83">
                  <c:v>44163</c:v>
                </c:pt>
                <c:pt idx="84">
                  <c:v>44164</c:v>
                </c:pt>
                <c:pt idx="85">
                  <c:v>44165</c:v>
                </c:pt>
                <c:pt idx="86">
                  <c:v>44166</c:v>
                </c:pt>
                <c:pt idx="87">
                  <c:v>44167</c:v>
                </c:pt>
                <c:pt idx="88">
                  <c:v>44168</c:v>
                </c:pt>
                <c:pt idx="89">
                  <c:v>44169</c:v>
                </c:pt>
                <c:pt idx="90">
                  <c:v>44170</c:v>
                </c:pt>
                <c:pt idx="91">
                  <c:v>44171</c:v>
                </c:pt>
                <c:pt idx="92">
                  <c:v>44172</c:v>
                </c:pt>
                <c:pt idx="93">
                  <c:v>44173</c:v>
                </c:pt>
                <c:pt idx="94">
                  <c:v>44174</c:v>
                </c:pt>
                <c:pt idx="95">
                  <c:v>44175</c:v>
                </c:pt>
                <c:pt idx="96">
                  <c:v>44176</c:v>
                </c:pt>
                <c:pt idx="97">
                  <c:v>44177</c:v>
                </c:pt>
                <c:pt idx="98">
                  <c:v>44178</c:v>
                </c:pt>
                <c:pt idx="99">
                  <c:v>44179</c:v>
                </c:pt>
                <c:pt idx="100">
                  <c:v>44180</c:v>
                </c:pt>
                <c:pt idx="101">
                  <c:v>44181</c:v>
                </c:pt>
                <c:pt idx="102">
                  <c:v>44182</c:v>
                </c:pt>
                <c:pt idx="103">
                  <c:v>44183</c:v>
                </c:pt>
                <c:pt idx="104">
                  <c:v>44184</c:v>
                </c:pt>
                <c:pt idx="105">
                  <c:v>44185</c:v>
                </c:pt>
                <c:pt idx="106">
                  <c:v>44186</c:v>
                </c:pt>
                <c:pt idx="107">
                  <c:v>44187</c:v>
                </c:pt>
                <c:pt idx="108">
                  <c:v>44188</c:v>
                </c:pt>
                <c:pt idx="109">
                  <c:v>44189</c:v>
                </c:pt>
                <c:pt idx="110">
                  <c:v>44190</c:v>
                </c:pt>
                <c:pt idx="111">
                  <c:v>44191</c:v>
                </c:pt>
                <c:pt idx="112">
                  <c:v>44192</c:v>
                </c:pt>
                <c:pt idx="113">
                  <c:v>44193</c:v>
                </c:pt>
                <c:pt idx="114">
                  <c:v>44194</c:v>
                </c:pt>
                <c:pt idx="115">
                  <c:v>44195</c:v>
                </c:pt>
                <c:pt idx="116">
                  <c:v>44196</c:v>
                </c:pt>
                <c:pt idx="117">
                  <c:v>44197</c:v>
                </c:pt>
                <c:pt idx="118">
                  <c:v>44198</c:v>
                </c:pt>
                <c:pt idx="119">
                  <c:v>44199</c:v>
                </c:pt>
                <c:pt idx="120">
                  <c:v>44200</c:v>
                </c:pt>
                <c:pt idx="121">
                  <c:v>44201</c:v>
                </c:pt>
                <c:pt idx="122">
                  <c:v>44202</c:v>
                </c:pt>
                <c:pt idx="123">
                  <c:v>44203</c:v>
                </c:pt>
                <c:pt idx="124">
                  <c:v>44204</c:v>
                </c:pt>
                <c:pt idx="125">
                  <c:v>44205</c:v>
                </c:pt>
                <c:pt idx="126">
                  <c:v>44206</c:v>
                </c:pt>
                <c:pt idx="127">
                  <c:v>44207</c:v>
                </c:pt>
                <c:pt idx="128">
                  <c:v>44208</c:v>
                </c:pt>
                <c:pt idx="129">
                  <c:v>44209</c:v>
                </c:pt>
                <c:pt idx="130">
                  <c:v>44210</c:v>
                </c:pt>
                <c:pt idx="131">
                  <c:v>44211</c:v>
                </c:pt>
                <c:pt idx="132">
                  <c:v>44212</c:v>
                </c:pt>
                <c:pt idx="133">
                  <c:v>44213</c:v>
                </c:pt>
                <c:pt idx="134">
                  <c:v>44214</c:v>
                </c:pt>
                <c:pt idx="135">
                  <c:v>44215</c:v>
                </c:pt>
                <c:pt idx="136">
                  <c:v>44216</c:v>
                </c:pt>
                <c:pt idx="137">
                  <c:v>44217</c:v>
                </c:pt>
                <c:pt idx="138">
                  <c:v>44218</c:v>
                </c:pt>
                <c:pt idx="139">
                  <c:v>44219</c:v>
                </c:pt>
                <c:pt idx="140">
                  <c:v>44220</c:v>
                </c:pt>
                <c:pt idx="141">
                  <c:v>44221</c:v>
                </c:pt>
                <c:pt idx="142">
                  <c:v>44222</c:v>
                </c:pt>
                <c:pt idx="143">
                  <c:v>44223</c:v>
                </c:pt>
                <c:pt idx="144">
                  <c:v>44224</c:v>
                </c:pt>
                <c:pt idx="145">
                  <c:v>44225</c:v>
                </c:pt>
                <c:pt idx="146">
                  <c:v>44226</c:v>
                </c:pt>
                <c:pt idx="147">
                  <c:v>44227</c:v>
                </c:pt>
                <c:pt idx="148">
                  <c:v>44228</c:v>
                </c:pt>
                <c:pt idx="149">
                  <c:v>44229</c:v>
                </c:pt>
                <c:pt idx="150">
                  <c:v>44230</c:v>
                </c:pt>
                <c:pt idx="151">
                  <c:v>44231</c:v>
                </c:pt>
                <c:pt idx="152">
                  <c:v>44232</c:v>
                </c:pt>
                <c:pt idx="153">
                  <c:v>44233</c:v>
                </c:pt>
                <c:pt idx="154">
                  <c:v>44234</c:v>
                </c:pt>
                <c:pt idx="155">
                  <c:v>44235</c:v>
                </c:pt>
                <c:pt idx="156">
                  <c:v>44236</c:v>
                </c:pt>
                <c:pt idx="157">
                  <c:v>44237</c:v>
                </c:pt>
                <c:pt idx="158">
                  <c:v>44238</c:v>
                </c:pt>
                <c:pt idx="159">
                  <c:v>44239</c:v>
                </c:pt>
                <c:pt idx="160">
                  <c:v>44240</c:v>
                </c:pt>
                <c:pt idx="161">
                  <c:v>44241</c:v>
                </c:pt>
                <c:pt idx="162">
                  <c:v>44242</c:v>
                </c:pt>
                <c:pt idx="163">
                  <c:v>44243</c:v>
                </c:pt>
                <c:pt idx="164">
                  <c:v>44244</c:v>
                </c:pt>
                <c:pt idx="165">
                  <c:v>44245</c:v>
                </c:pt>
                <c:pt idx="166">
                  <c:v>44246</c:v>
                </c:pt>
                <c:pt idx="167">
                  <c:v>44247</c:v>
                </c:pt>
                <c:pt idx="168">
                  <c:v>44248</c:v>
                </c:pt>
                <c:pt idx="169">
                  <c:v>44249</c:v>
                </c:pt>
                <c:pt idx="170">
                  <c:v>44250</c:v>
                </c:pt>
                <c:pt idx="171">
                  <c:v>44251</c:v>
                </c:pt>
                <c:pt idx="172">
                  <c:v>44252</c:v>
                </c:pt>
                <c:pt idx="173">
                  <c:v>44253</c:v>
                </c:pt>
                <c:pt idx="174">
                  <c:v>44254</c:v>
                </c:pt>
                <c:pt idx="175">
                  <c:v>44255</c:v>
                </c:pt>
                <c:pt idx="176">
                  <c:v>44256</c:v>
                </c:pt>
                <c:pt idx="177">
                  <c:v>44257</c:v>
                </c:pt>
                <c:pt idx="178">
                  <c:v>44258</c:v>
                </c:pt>
                <c:pt idx="179">
                  <c:v>44259</c:v>
                </c:pt>
                <c:pt idx="180">
                  <c:v>44260</c:v>
                </c:pt>
                <c:pt idx="181">
                  <c:v>44261</c:v>
                </c:pt>
                <c:pt idx="182">
                  <c:v>44262</c:v>
                </c:pt>
                <c:pt idx="183">
                  <c:v>44263</c:v>
                </c:pt>
                <c:pt idx="184">
                  <c:v>44264</c:v>
                </c:pt>
                <c:pt idx="185">
                  <c:v>44265</c:v>
                </c:pt>
                <c:pt idx="186">
                  <c:v>44266</c:v>
                </c:pt>
                <c:pt idx="187">
                  <c:v>44267</c:v>
                </c:pt>
                <c:pt idx="188">
                  <c:v>44268</c:v>
                </c:pt>
                <c:pt idx="189">
                  <c:v>44269</c:v>
                </c:pt>
                <c:pt idx="190">
                  <c:v>44270</c:v>
                </c:pt>
                <c:pt idx="191">
                  <c:v>44271</c:v>
                </c:pt>
                <c:pt idx="192">
                  <c:v>44272</c:v>
                </c:pt>
                <c:pt idx="193">
                  <c:v>44273</c:v>
                </c:pt>
                <c:pt idx="194">
                  <c:v>44274</c:v>
                </c:pt>
                <c:pt idx="195">
                  <c:v>44275</c:v>
                </c:pt>
                <c:pt idx="196">
                  <c:v>44276</c:v>
                </c:pt>
                <c:pt idx="197">
                  <c:v>44277</c:v>
                </c:pt>
                <c:pt idx="198">
                  <c:v>44278</c:v>
                </c:pt>
                <c:pt idx="199">
                  <c:v>44279</c:v>
                </c:pt>
                <c:pt idx="200">
                  <c:v>44280</c:v>
                </c:pt>
                <c:pt idx="201">
                  <c:v>44281</c:v>
                </c:pt>
                <c:pt idx="202">
                  <c:v>44282</c:v>
                </c:pt>
                <c:pt idx="203">
                  <c:v>44283</c:v>
                </c:pt>
                <c:pt idx="204">
                  <c:v>44284</c:v>
                </c:pt>
                <c:pt idx="205">
                  <c:v>44285</c:v>
                </c:pt>
                <c:pt idx="206">
                  <c:v>44286</c:v>
                </c:pt>
                <c:pt idx="207">
                  <c:v>44287</c:v>
                </c:pt>
                <c:pt idx="208">
                  <c:v>44288</c:v>
                </c:pt>
                <c:pt idx="209">
                  <c:v>44289</c:v>
                </c:pt>
                <c:pt idx="210">
                  <c:v>44290</c:v>
                </c:pt>
                <c:pt idx="211">
                  <c:v>44291</c:v>
                </c:pt>
                <c:pt idx="212">
                  <c:v>44292</c:v>
                </c:pt>
                <c:pt idx="213">
                  <c:v>44293</c:v>
                </c:pt>
                <c:pt idx="214">
                  <c:v>44294</c:v>
                </c:pt>
                <c:pt idx="215">
                  <c:v>44295</c:v>
                </c:pt>
                <c:pt idx="216">
                  <c:v>44296</c:v>
                </c:pt>
                <c:pt idx="217">
                  <c:v>44297</c:v>
                </c:pt>
                <c:pt idx="218">
                  <c:v>44298</c:v>
                </c:pt>
                <c:pt idx="219">
                  <c:v>44299</c:v>
                </c:pt>
                <c:pt idx="220">
                  <c:v>44300</c:v>
                </c:pt>
                <c:pt idx="221">
                  <c:v>44301</c:v>
                </c:pt>
                <c:pt idx="222">
                  <c:v>44302</c:v>
                </c:pt>
                <c:pt idx="223">
                  <c:v>44303</c:v>
                </c:pt>
                <c:pt idx="224">
                  <c:v>44304</c:v>
                </c:pt>
                <c:pt idx="225">
                  <c:v>44305</c:v>
                </c:pt>
                <c:pt idx="226">
                  <c:v>44306</c:v>
                </c:pt>
                <c:pt idx="227">
                  <c:v>44307</c:v>
                </c:pt>
                <c:pt idx="228">
                  <c:v>44308</c:v>
                </c:pt>
                <c:pt idx="229">
                  <c:v>44309</c:v>
                </c:pt>
                <c:pt idx="230">
                  <c:v>44310</c:v>
                </c:pt>
                <c:pt idx="231">
                  <c:v>44312</c:v>
                </c:pt>
                <c:pt idx="232">
                  <c:v>44313</c:v>
                </c:pt>
                <c:pt idx="233">
                  <c:v>44314</c:v>
                </c:pt>
                <c:pt idx="234">
                  <c:v>44315</c:v>
                </c:pt>
                <c:pt idx="235">
                  <c:v>44316</c:v>
                </c:pt>
                <c:pt idx="236">
                  <c:v>44318</c:v>
                </c:pt>
                <c:pt idx="237">
                  <c:v>44319</c:v>
                </c:pt>
                <c:pt idx="238">
                  <c:v>44320</c:v>
                </c:pt>
                <c:pt idx="239">
                  <c:v>44321</c:v>
                </c:pt>
                <c:pt idx="240">
                  <c:v>44322</c:v>
                </c:pt>
                <c:pt idx="241">
                  <c:v>44323</c:v>
                </c:pt>
                <c:pt idx="242">
                  <c:v>44324</c:v>
                </c:pt>
                <c:pt idx="243">
                  <c:v>44325</c:v>
                </c:pt>
                <c:pt idx="244">
                  <c:v>44326</c:v>
                </c:pt>
                <c:pt idx="245">
                  <c:v>44327</c:v>
                </c:pt>
                <c:pt idx="246">
                  <c:v>44329</c:v>
                </c:pt>
                <c:pt idx="247">
                  <c:v>44330</c:v>
                </c:pt>
                <c:pt idx="248">
                  <c:v>44331</c:v>
                </c:pt>
                <c:pt idx="249">
                  <c:v>44333</c:v>
                </c:pt>
                <c:pt idx="250">
                  <c:v>44334</c:v>
                </c:pt>
                <c:pt idx="251">
                  <c:v>44335</c:v>
                </c:pt>
                <c:pt idx="252">
                  <c:v>44336</c:v>
                </c:pt>
                <c:pt idx="253">
                  <c:v>44340</c:v>
                </c:pt>
                <c:pt idx="254">
                  <c:v>44341</c:v>
                </c:pt>
                <c:pt idx="255">
                  <c:v>44342</c:v>
                </c:pt>
                <c:pt idx="256">
                  <c:v>44343</c:v>
                </c:pt>
                <c:pt idx="257">
                  <c:v>44349</c:v>
                </c:pt>
                <c:pt idx="258">
                  <c:v>44350</c:v>
                </c:pt>
                <c:pt idx="259">
                  <c:v>44358</c:v>
                </c:pt>
                <c:pt idx="260">
                  <c:v>44364</c:v>
                </c:pt>
                <c:pt idx="261">
                  <c:v>44370</c:v>
                </c:pt>
                <c:pt idx="262">
                  <c:v>44371</c:v>
                </c:pt>
                <c:pt idx="263">
                  <c:v>44377</c:v>
                </c:pt>
                <c:pt idx="264">
                  <c:v>44378</c:v>
                </c:pt>
                <c:pt idx="265">
                  <c:v>44381</c:v>
                </c:pt>
                <c:pt idx="266">
                  <c:v>44385</c:v>
                </c:pt>
                <c:pt idx="267">
                  <c:v>44388</c:v>
                </c:pt>
                <c:pt idx="268">
                  <c:v>44398</c:v>
                </c:pt>
                <c:pt idx="269">
                  <c:v>44401</c:v>
                </c:pt>
                <c:pt idx="270">
                  <c:v>44404</c:v>
                </c:pt>
                <c:pt idx="271">
                  <c:v>44405</c:v>
                </c:pt>
                <c:pt idx="272">
                  <c:v>44416</c:v>
                </c:pt>
                <c:pt idx="273">
                  <c:v>44419</c:v>
                </c:pt>
                <c:pt idx="274">
                  <c:v>44424</c:v>
                </c:pt>
                <c:pt idx="275">
                  <c:v>44425</c:v>
                </c:pt>
                <c:pt idx="276">
                  <c:v>44427</c:v>
                </c:pt>
                <c:pt idx="277">
                  <c:v>44431</c:v>
                </c:pt>
                <c:pt idx="278">
                  <c:v>44434</c:v>
                </c:pt>
                <c:pt idx="279">
                  <c:v>44435</c:v>
                </c:pt>
                <c:pt idx="280">
                  <c:v>44436</c:v>
                </c:pt>
                <c:pt idx="281">
                  <c:v>44440</c:v>
                </c:pt>
                <c:pt idx="282">
                  <c:v>44441</c:v>
                </c:pt>
                <c:pt idx="283">
                  <c:v>44442</c:v>
                </c:pt>
                <c:pt idx="284">
                  <c:v>44443</c:v>
                </c:pt>
                <c:pt idx="285">
                  <c:v>44445</c:v>
                </c:pt>
                <c:pt idx="286">
                  <c:v>44446</c:v>
                </c:pt>
                <c:pt idx="287">
                  <c:v>44447</c:v>
                </c:pt>
                <c:pt idx="288">
                  <c:v>44448</c:v>
                </c:pt>
                <c:pt idx="289">
                  <c:v>44451</c:v>
                </c:pt>
                <c:pt idx="290">
                  <c:v>44452</c:v>
                </c:pt>
                <c:pt idx="291">
                  <c:v>44453</c:v>
                </c:pt>
                <c:pt idx="292">
                  <c:v>44457</c:v>
                </c:pt>
                <c:pt idx="293">
                  <c:v>44459</c:v>
                </c:pt>
                <c:pt idx="294">
                  <c:v>44460</c:v>
                </c:pt>
                <c:pt idx="295">
                  <c:v>44461</c:v>
                </c:pt>
                <c:pt idx="296">
                  <c:v>44464</c:v>
                </c:pt>
                <c:pt idx="297">
                  <c:v>44466</c:v>
                </c:pt>
                <c:pt idx="298">
                  <c:v>44467</c:v>
                </c:pt>
                <c:pt idx="299">
                  <c:v>44468</c:v>
                </c:pt>
                <c:pt idx="300">
                  <c:v>44469</c:v>
                </c:pt>
                <c:pt idx="301">
                  <c:v>44470</c:v>
                </c:pt>
                <c:pt idx="302">
                  <c:v>44471</c:v>
                </c:pt>
                <c:pt idx="303">
                  <c:v>44472</c:v>
                </c:pt>
                <c:pt idx="304">
                  <c:v>44473</c:v>
                </c:pt>
                <c:pt idx="305">
                  <c:v>44474</c:v>
                </c:pt>
                <c:pt idx="306">
                  <c:v>44475</c:v>
                </c:pt>
                <c:pt idx="307">
                  <c:v>44476</c:v>
                </c:pt>
                <c:pt idx="308">
                  <c:v>44477</c:v>
                </c:pt>
                <c:pt idx="309">
                  <c:v>44478</c:v>
                </c:pt>
                <c:pt idx="310">
                  <c:v>44480</c:v>
                </c:pt>
                <c:pt idx="311">
                  <c:v>44481</c:v>
                </c:pt>
                <c:pt idx="312">
                  <c:v>44482</c:v>
                </c:pt>
                <c:pt idx="313">
                  <c:v>44483</c:v>
                </c:pt>
                <c:pt idx="314">
                  <c:v>44484</c:v>
                </c:pt>
                <c:pt idx="315">
                  <c:v>44485</c:v>
                </c:pt>
                <c:pt idx="316">
                  <c:v>44486</c:v>
                </c:pt>
                <c:pt idx="317">
                  <c:v>44487</c:v>
                </c:pt>
                <c:pt idx="318">
                  <c:v>44488</c:v>
                </c:pt>
                <c:pt idx="319">
                  <c:v>44489</c:v>
                </c:pt>
                <c:pt idx="320">
                  <c:v>44490</c:v>
                </c:pt>
                <c:pt idx="321">
                  <c:v>44491</c:v>
                </c:pt>
                <c:pt idx="322">
                  <c:v>44492</c:v>
                </c:pt>
                <c:pt idx="323">
                  <c:v>44493</c:v>
                </c:pt>
                <c:pt idx="324">
                  <c:v>44494</c:v>
                </c:pt>
                <c:pt idx="325">
                  <c:v>44495</c:v>
                </c:pt>
                <c:pt idx="326">
                  <c:v>44496</c:v>
                </c:pt>
                <c:pt idx="327">
                  <c:v>44497</c:v>
                </c:pt>
                <c:pt idx="328">
                  <c:v>44498</c:v>
                </c:pt>
                <c:pt idx="329">
                  <c:v>44499</c:v>
                </c:pt>
                <c:pt idx="330">
                  <c:v>44500</c:v>
                </c:pt>
                <c:pt idx="331">
                  <c:v>44501</c:v>
                </c:pt>
                <c:pt idx="332">
                  <c:v>44502</c:v>
                </c:pt>
                <c:pt idx="333">
                  <c:v>44503</c:v>
                </c:pt>
                <c:pt idx="334">
                  <c:v>44504</c:v>
                </c:pt>
                <c:pt idx="335">
                  <c:v>44505</c:v>
                </c:pt>
                <c:pt idx="336">
                  <c:v>44506</c:v>
                </c:pt>
                <c:pt idx="337">
                  <c:v>44507</c:v>
                </c:pt>
                <c:pt idx="338">
                  <c:v>44508</c:v>
                </c:pt>
                <c:pt idx="339">
                  <c:v>44509</c:v>
                </c:pt>
                <c:pt idx="340">
                  <c:v>44510</c:v>
                </c:pt>
                <c:pt idx="341">
                  <c:v>44511</c:v>
                </c:pt>
                <c:pt idx="342">
                  <c:v>44512</c:v>
                </c:pt>
                <c:pt idx="343">
                  <c:v>44513</c:v>
                </c:pt>
                <c:pt idx="344">
                  <c:v>44514</c:v>
                </c:pt>
                <c:pt idx="345">
                  <c:v>44515</c:v>
                </c:pt>
                <c:pt idx="346">
                  <c:v>44516</c:v>
                </c:pt>
                <c:pt idx="347">
                  <c:v>44517</c:v>
                </c:pt>
                <c:pt idx="348">
                  <c:v>44518</c:v>
                </c:pt>
                <c:pt idx="349">
                  <c:v>44519</c:v>
                </c:pt>
                <c:pt idx="350">
                  <c:v>44520</c:v>
                </c:pt>
                <c:pt idx="351">
                  <c:v>44521</c:v>
                </c:pt>
                <c:pt idx="352">
                  <c:v>44522</c:v>
                </c:pt>
                <c:pt idx="353">
                  <c:v>44523</c:v>
                </c:pt>
                <c:pt idx="354">
                  <c:v>44524</c:v>
                </c:pt>
                <c:pt idx="355">
                  <c:v>44525</c:v>
                </c:pt>
              </c:numCache>
            </c:numRef>
          </c:cat>
          <c:val>
            <c:numRef>
              <c:f>Sheet1!$B$2:$B$357</c:f>
              <c:numCache>
                <c:formatCode>General</c:formatCode>
                <c:ptCount val="35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4</c:v>
                </c:pt>
                <c:pt idx="26">
                  <c:v>7</c:v>
                </c:pt>
                <c:pt idx="27">
                  <c:v>5</c:v>
                </c:pt>
                <c:pt idx="28">
                  <c:v>5</c:v>
                </c:pt>
                <c:pt idx="29">
                  <c:v>22</c:v>
                </c:pt>
                <c:pt idx="30">
                  <c:v>8</c:v>
                </c:pt>
                <c:pt idx="31">
                  <c:v>7</c:v>
                </c:pt>
                <c:pt idx="32">
                  <c:v>2</c:v>
                </c:pt>
                <c:pt idx="33">
                  <c:v>7</c:v>
                </c:pt>
                <c:pt idx="34">
                  <c:v>3</c:v>
                </c:pt>
                <c:pt idx="35">
                  <c:v>0</c:v>
                </c:pt>
                <c:pt idx="36">
                  <c:v>8</c:v>
                </c:pt>
                <c:pt idx="37">
                  <c:v>13</c:v>
                </c:pt>
                <c:pt idx="38">
                  <c:v>13</c:v>
                </c:pt>
                <c:pt idx="39">
                  <c:v>14</c:v>
                </c:pt>
                <c:pt idx="40">
                  <c:v>18</c:v>
                </c:pt>
                <c:pt idx="41">
                  <c:v>9</c:v>
                </c:pt>
                <c:pt idx="42">
                  <c:v>5</c:v>
                </c:pt>
                <c:pt idx="43">
                  <c:v>18</c:v>
                </c:pt>
                <c:pt idx="44">
                  <c:v>14</c:v>
                </c:pt>
                <c:pt idx="45">
                  <c:v>20</c:v>
                </c:pt>
                <c:pt idx="46">
                  <c:v>18</c:v>
                </c:pt>
                <c:pt idx="47">
                  <c:v>28</c:v>
                </c:pt>
                <c:pt idx="48">
                  <c:v>7</c:v>
                </c:pt>
                <c:pt idx="49">
                  <c:v>7</c:v>
                </c:pt>
                <c:pt idx="50">
                  <c:v>28</c:v>
                </c:pt>
                <c:pt idx="51">
                  <c:v>18</c:v>
                </c:pt>
                <c:pt idx="52">
                  <c:v>11</c:v>
                </c:pt>
                <c:pt idx="53">
                  <c:v>20</c:v>
                </c:pt>
                <c:pt idx="54">
                  <c:v>27</c:v>
                </c:pt>
                <c:pt idx="55">
                  <c:v>9</c:v>
                </c:pt>
                <c:pt idx="56">
                  <c:v>14</c:v>
                </c:pt>
                <c:pt idx="57">
                  <c:v>15</c:v>
                </c:pt>
                <c:pt idx="58">
                  <c:v>13</c:v>
                </c:pt>
                <c:pt idx="59">
                  <c:v>21</c:v>
                </c:pt>
                <c:pt idx="60">
                  <c:v>9</c:v>
                </c:pt>
                <c:pt idx="61">
                  <c:v>16</c:v>
                </c:pt>
                <c:pt idx="62">
                  <c:v>10</c:v>
                </c:pt>
                <c:pt idx="63">
                  <c:v>6</c:v>
                </c:pt>
                <c:pt idx="64">
                  <c:v>10</c:v>
                </c:pt>
                <c:pt idx="65">
                  <c:v>16</c:v>
                </c:pt>
                <c:pt idx="66">
                  <c:v>25</c:v>
                </c:pt>
                <c:pt idx="67">
                  <c:v>14</c:v>
                </c:pt>
                <c:pt idx="68">
                  <c:v>18</c:v>
                </c:pt>
                <c:pt idx="69">
                  <c:v>9</c:v>
                </c:pt>
                <c:pt idx="70">
                  <c:v>4</c:v>
                </c:pt>
                <c:pt idx="71">
                  <c:v>18</c:v>
                </c:pt>
                <c:pt idx="72">
                  <c:v>9</c:v>
                </c:pt>
                <c:pt idx="73">
                  <c:v>13</c:v>
                </c:pt>
                <c:pt idx="74">
                  <c:v>12</c:v>
                </c:pt>
                <c:pt idx="75">
                  <c:v>13</c:v>
                </c:pt>
                <c:pt idx="76">
                  <c:v>4</c:v>
                </c:pt>
                <c:pt idx="77">
                  <c:v>3</c:v>
                </c:pt>
                <c:pt idx="78">
                  <c:v>15</c:v>
                </c:pt>
                <c:pt idx="79">
                  <c:v>9</c:v>
                </c:pt>
                <c:pt idx="80">
                  <c:v>7</c:v>
                </c:pt>
                <c:pt idx="81">
                  <c:v>9</c:v>
                </c:pt>
                <c:pt idx="82">
                  <c:v>5</c:v>
                </c:pt>
                <c:pt idx="83">
                  <c:v>1</c:v>
                </c:pt>
                <c:pt idx="84">
                  <c:v>2</c:v>
                </c:pt>
                <c:pt idx="85">
                  <c:v>10</c:v>
                </c:pt>
                <c:pt idx="86">
                  <c:v>9</c:v>
                </c:pt>
                <c:pt idx="87">
                  <c:v>5</c:v>
                </c:pt>
                <c:pt idx="88">
                  <c:v>2</c:v>
                </c:pt>
                <c:pt idx="89">
                  <c:v>8</c:v>
                </c:pt>
                <c:pt idx="90">
                  <c:v>3</c:v>
                </c:pt>
                <c:pt idx="91">
                  <c:v>1</c:v>
                </c:pt>
                <c:pt idx="92">
                  <c:v>3</c:v>
                </c:pt>
                <c:pt idx="93">
                  <c:v>4</c:v>
                </c:pt>
                <c:pt idx="94">
                  <c:v>6</c:v>
                </c:pt>
                <c:pt idx="95">
                  <c:v>5</c:v>
                </c:pt>
                <c:pt idx="96">
                  <c:v>6</c:v>
                </c:pt>
                <c:pt idx="97">
                  <c:v>3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6</c:v>
                </c:pt>
                <c:pt idx="102">
                  <c:v>3</c:v>
                </c:pt>
                <c:pt idx="103">
                  <c:v>7</c:v>
                </c:pt>
                <c:pt idx="104">
                  <c:v>6</c:v>
                </c:pt>
                <c:pt idx="105">
                  <c:v>1</c:v>
                </c:pt>
                <c:pt idx="106">
                  <c:v>5</c:v>
                </c:pt>
                <c:pt idx="107">
                  <c:v>10</c:v>
                </c:pt>
                <c:pt idx="108">
                  <c:v>2</c:v>
                </c:pt>
                <c:pt idx="109">
                  <c:v>1</c:v>
                </c:pt>
                <c:pt idx="110">
                  <c:v>6</c:v>
                </c:pt>
                <c:pt idx="111">
                  <c:v>5</c:v>
                </c:pt>
                <c:pt idx="112">
                  <c:v>7</c:v>
                </c:pt>
                <c:pt idx="113">
                  <c:v>4</c:v>
                </c:pt>
                <c:pt idx="114">
                  <c:v>6</c:v>
                </c:pt>
                <c:pt idx="115">
                  <c:v>8</c:v>
                </c:pt>
                <c:pt idx="116">
                  <c:v>7</c:v>
                </c:pt>
                <c:pt idx="117">
                  <c:v>4</c:v>
                </c:pt>
                <c:pt idx="118">
                  <c:v>5</c:v>
                </c:pt>
                <c:pt idx="119">
                  <c:v>1</c:v>
                </c:pt>
                <c:pt idx="120">
                  <c:v>9</c:v>
                </c:pt>
                <c:pt idx="121">
                  <c:v>5</c:v>
                </c:pt>
                <c:pt idx="122">
                  <c:v>8</c:v>
                </c:pt>
                <c:pt idx="123">
                  <c:v>7</c:v>
                </c:pt>
                <c:pt idx="124">
                  <c:v>8</c:v>
                </c:pt>
                <c:pt idx="125">
                  <c:v>3</c:v>
                </c:pt>
                <c:pt idx="126">
                  <c:v>2</c:v>
                </c:pt>
                <c:pt idx="127">
                  <c:v>7</c:v>
                </c:pt>
                <c:pt idx="128">
                  <c:v>4</c:v>
                </c:pt>
                <c:pt idx="129">
                  <c:v>3</c:v>
                </c:pt>
                <c:pt idx="130">
                  <c:v>3</c:v>
                </c:pt>
                <c:pt idx="131">
                  <c:v>12</c:v>
                </c:pt>
                <c:pt idx="132">
                  <c:v>4</c:v>
                </c:pt>
                <c:pt idx="133">
                  <c:v>2</c:v>
                </c:pt>
                <c:pt idx="134">
                  <c:v>5</c:v>
                </c:pt>
                <c:pt idx="135">
                  <c:v>4</c:v>
                </c:pt>
                <c:pt idx="136">
                  <c:v>8</c:v>
                </c:pt>
                <c:pt idx="137">
                  <c:v>5</c:v>
                </c:pt>
                <c:pt idx="138">
                  <c:v>5</c:v>
                </c:pt>
                <c:pt idx="139">
                  <c:v>0</c:v>
                </c:pt>
                <c:pt idx="140">
                  <c:v>3</c:v>
                </c:pt>
                <c:pt idx="141">
                  <c:v>7</c:v>
                </c:pt>
                <c:pt idx="142">
                  <c:v>1</c:v>
                </c:pt>
                <c:pt idx="143">
                  <c:v>2</c:v>
                </c:pt>
                <c:pt idx="144">
                  <c:v>2</c:v>
                </c:pt>
                <c:pt idx="145">
                  <c:v>1</c:v>
                </c:pt>
                <c:pt idx="146">
                  <c:v>2</c:v>
                </c:pt>
                <c:pt idx="147">
                  <c:v>1</c:v>
                </c:pt>
                <c:pt idx="148">
                  <c:v>3</c:v>
                </c:pt>
                <c:pt idx="149">
                  <c:v>3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3</c:v>
                </c:pt>
                <c:pt idx="154">
                  <c:v>1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3</c:v>
                </c:pt>
                <c:pt idx="159">
                  <c:v>3</c:v>
                </c:pt>
                <c:pt idx="160">
                  <c:v>0</c:v>
                </c:pt>
                <c:pt idx="161">
                  <c:v>0</c:v>
                </c:pt>
                <c:pt idx="162">
                  <c:v>2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0</c:v>
                </c:pt>
                <c:pt idx="167">
                  <c:v>6</c:v>
                </c:pt>
                <c:pt idx="168">
                  <c:v>0</c:v>
                </c:pt>
                <c:pt idx="169">
                  <c:v>1</c:v>
                </c:pt>
                <c:pt idx="170">
                  <c:v>3</c:v>
                </c:pt>
                <c:pt idx="171">
                  <c:v>1</c:v>
                </c:pt>
                <c:pt idx="172">
                  <c:v>0</c:v>
                </c:pt>
                <c:pt idx="173">
                  <c:v>1</c:v>
                </c:pt>
                <c:pt idx="174">
                  <c:v>1</c:v>
                </c:pt>
                <c:pt idx="175">
                  <c:v>0</c:v>
                </c:pt>
                <c:pt idx="176">
                  <c:v>2</c:v>
                </c:pt>
                <c:pt idx="177">
                  <c:v>4</c:v>
                </c:pt>
                <c:pt idx="178">
                  <c:v>1</c:v>
                </c:pt>
                <c:pt idx="179">
                  <c:v>1</c:v>
                </c:pt>
                <c:pt idx="180">
                  <c:v>2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2</c:v>
                </c:pt>
                <c:pt idx="185">
                  <c:v>4</c:v>
                </c:pt>
                <c:pt idx="186">
                  <c:v>1</c:v>
                </c:pt>
                <c:pt idx="187">
                  <c:v>0</c:v>
                </c:pt>
                <c:pt idx="188">
                  <c:v>1</c:v>
                </c:pt>
                <c:pt idx="189">
                  <c:v>1</c:v>
                </c:pt>
                <c:pt idx="190">
                  <c:v>0</c:v>
                </c:pt>
                <c:pt idx="191">
                  <c:v>2</c:v>
                </c:pt>
                <c:pt idx="192">
                  <c:v>0</c:v>
                </c:pt>
                <c:pt idx="193">
                  <c:v>3</c:v>
                </c:pt>
                <c:pt idx="194">
                  <c:v>0</c:v>
                </c:pt>
                <c:pt idx="195">
                  <c:v>1</c:v>
                </c:pt>
                <c:pt idx="196">
                  <c:v>1</c:v>
                </c:pt>
                <c:pt idx="197">
                  <c:v>2</c:v>
                </c:pt>
                <c:pt idx="198">
                  <c:v>1</c:v>
                </c:pt>
                <c:pt idx="199">
                  <c:v>0</c:v>
                </c:pt>
                <c:pt idx="200">
                  <c:v>1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1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1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2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1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2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2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1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1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1</c:v>
                </c:pt>
                <c:pt idx="307">
                  <c:v>1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1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3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1</c:v>
                </c:pt>
                <c:pt idx="322">
                  <c:v>0</c:v>
                </c:pt>
                <c:pt idx="323">
                  <c:v>0</c:v>
                </c:pt>
                <c:pt idx="324">
                  <c:v>1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1</c:v>
                </c:pt>
                <c:pt idx="329">
                  <c:v>0</c:v>
                </c:pt>
                <c:pt idx="330">
                  <c:v>1</c:v>
                </c:pt>
                <c:pt idx="331">
                  <c:v>1</c:v>
                </c:pt>
                <c:pt idx="332">
                  <c:v>1</c:v>
                </c:pt>
                <c:pt idx="333">
                  <c:v>1</c:v>
                </c:pt>
                <c:pt idx="334">
                  <c:v>0</c:v>
                </c:pt>
                <c:pt idx="335">
                  <c:v>1</c:v>
                </c:pt>
                <c:pt idx="336">
                  <c:v>0</c:v>
                </c:pt>
                <c:pt idx="337">
                  <c:v>1</c:v>
                </c:pt>
                <c:pt idx="338">
                  <c:v>0</c:v>
                </c:pt>
                <c:pt idx="339">
                  <c:v>3</c:v>
                </c:pt>
                <c:pt idx="340">
                  <c:v>0</c:v>
                </c:pt>
                <c:pt idx="341">
                  <c:v>1</c:v>
                </c:pt>
                <c:pt idx="342">
                  <c:v>0</c:v>
                </c:pt>
                <c:pt idx="343">
                  <c:v>2</c:v>
                </c:pt>
                <c:pt idx="344">
                  <c:v>1</c:v>
                </c:pt>
                <c:pt idx="345">
                  <c:v>1</c:v>
                </c:pt>
                <c:pt idx="346">
                  <c:v>1</c:v>
                </c:pt>
                <c:pt idx="347">
                  <c:v>0</c:v>
                </c:pt>
                <c:pt idx="348">
                  <c:v>3</c:v>
                </c:pt>
                <c:pt idx="349">
                  <c:v>2</c:v>
                </c:pt>
                <c:pt idx="350">
                  <c:v>0</c:v>
                </c:pt>
                <c:pt idx="351">
                  <c:v>1</c:v>
                </c:pt>
                <c:pt idx="352">
                  <c:v>1</c:v>
                </c:pt>
                <c:pt idx="353">
                  <c:v>0</c:v>
                </c:pt>
                <c:pt idx="354">
                  <c:v>1</c:v>
                </c:pt>
                <c:pt idx="35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3E-4315-A7FA-F141290FE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529925759"/>
        <c:axId val="533925071"/>
      </c:barChart>
      <c:dateAx>
        <c:axId val="529925759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3925071"/>
        <c:crosses val="autoZero"/>
        <c:auto val="1"/>
        <c:lblOffset val="100"/>
        <c:baseTimeUnit val="days"/>
      </c:dateAx>
      <c:valAx>
        <c:axId val="5339250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9925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4.–
3.5.</c:v>
                </c:pt>
                <c:pt idx="1">
                  <c:v>4.5.–
10.5.</c:v>
                </c:pt>
                <c:pt idx="2">
                  <c:v>11.5.–
17.5.</c:v>
                </c:pt>
                <c:pt idx="3">
                  <c:v>18.5.–
24.5.</c:v>
                </c:pt>
                <c:pt idx="4">
                  <c:v>25.5.–
31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90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6.–
7.6.</c:v>
                </c:pt>
                <c:pt idx="1">
                  <c:v>8.6.–
14.6.</c:v>
                </c:pt>
                <c:pt idx="2">
                  <c:v>15.6.–
21.6.</c:v>
                </c:pt>
                <c:pt idx="3">
                  <c:v>22.6.–
28.6.</c:v>
                </c:pt>
                <c:pt idx="4">
                  <c:v>29.6.–
5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5</c:v>
                </c:pt>
                <c:pt idx="1">
                  <c:v>0</c:v>
                </c:pt>
                <c:pt idx="2">
                  <c:v>45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6.–
5.7.</c:v>
                </c:pt>
                <c:pt idx="1">
                  <c:v>6.7.–
12.7.</c:v>
                </c:pt>
                <c:pt idx="2">
                  <c:v>13.7.–
19.7.</c:v>
                </c:pt>
                <c:pt idx="3">
                  <c:v>20.7.–
26.7.</c:v>
                </c:pt>
                <c:pt idx="4">
                  <c:v>27.7.–
2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110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7.7.–
2.8.</c:v>
                </c:pt>
                <c:pt idx="1">
                  <c:v>3.8.–
9.8.</c:v>
                </c:pt>
                <c:pt idx="2">
                  <c:v>10.8.–
16.8.</c:v>
                </c:pt>
                <c:pt idx="3">
                  <c:v>17.8.–
23.8.</c:v>
                </c:pt>
                <c:pt idx="4">
                  <c:v>24.8.–
30.8.</c:v>
                </c:pt>
                <c:pt idx="5">
                  <c:v>31.8.–
6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</c:v>
                </c:pt>
                <c:pt idx="1">
                  <c:v>86</c:v>
                </c:pt>
                <c:pt idx="2">
                  <c:v>40</c:v>
                </c:pt>
                <c:pt idx="3">
                  <c:v>44</c:v>
                </c:pt>
                <c:pt idx="4">
                  <c:v>1</c:v>
                </c:pt>
                <c:pt idx="5">
                  <c:v>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8.–
6.9.</c:v>
                </c:pt>
                <c:pt idx="1">
                  <c:v>7.9.–
13.9.</c:v>
                </c:pt>
                <c:pt idx="2">
                  <c:v>14.9.–
20.9.</c:v>
                </c:pt>
                <c:pt idx="3">
                  <c:v>21.9.–
27.9.</c:v>
                </c:pt>
                <c:pt idx="4">
                  <c:v>28.9.–
4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96</c:v>
                </c:pt>
                <c:pt idx="1">
                  <c:v>138</c:v>
                </c:pt>
                <c:pt idx="2">
                  <c:v>100</c:v>
                </c:pt>
                <c:pt idx="3">
                  <c:v>627</c:v>
                </c:pt>
                <c:pt idx="4">
                  <c:v>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9.–
4.10.</c:v>
                </c:pt>
                <c:pt idx="1">
                  <c:v>5.10.–
11.10.</c:v>
                </c:pt>
                <c:pt idx="2">
                  <c:v>12.10.–
18.10.</c:v>
                </c:pt>
                <c:pt idx="3">
                  <c:v>19.10.–
25.10.</c:v>
                </c:pt>
                <c:pt idx="4">
                  <c:v>26.10.–
1.1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90</c:v>
                </c:pt>
                <c:pt idx="1">
                  <c:v>1325</c:v>
                </c:pt>
                <c:pt idx="2">
                  <c:v>3258</c:v>
                </c:pt>
                <c:pt idx="3">
                  <c:v>2610</c:v>
                </c:pt>
                <c:pt idx="4">
                  <c:v>2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10.–
1.11.</c:v>
                </c:pt>
                <c:pt idx="1">
                  <c:v>2.11.–
8.11.</c:v>
                </c:pt>
                <c:pt idx="2">
                  <c:v>9.11.–
15.11.</c:v>
                </c:pt>
                <c:pt idx="3">
                  <c:v>16.11.–
22.11.</c:v>
                </c:pt>
                <c:pt idx="4">
                  <c:v>23.11.–
29.11.</c:v>
                </c:pt>
                <c:pt idx="5">
                  <c:v>30.11.–
6.12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2702</c:v>
                </c:pt>
                <c:pt idx="1">
                  <c:v>2109</c:v>
                </c:pt>
                <c:pt idx="2">
                  <c:v>3034</c:v>
                </c:pt>
                <c:pt idx="3">
                  <c:v>2017</c:v>
                </c:pt>
                <c:pt idx="4">
                  <c:v>788</c:v>
                </c:pt>
                <c:pt idx="5">
                  <c:v>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11.–
6.12.</c:v>
                </c:pt>
                <c:pt idx="1">
                  <c:v>7.12.–
13.12.</c:v>
                </c:pt>
                <c:pt idx="2">
                  <c:v>14.12.–
20.12.</c:v>
                </c:pt>
                <c:pt idx="3">
                  <c:v>21.12.–
27.12.</c:v>
                </c:pt>
                <c:pt idx="4">
                  <c:v>28.12.–
3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772</c:v>
                </c:pt>
                <c:pt idx="1">
                  <c:v>1444</c:v>
                </c:pt>
                <c:pt idx="2">
                  <c:v>992</c:v>
                </c:pt>
                <c:pt idx="3">
                  <c:v>582</c:v>
                </c:pt>
                <c:pt idx="4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12.–
3.1.</c:v>
                </c:pt>
                <c:pt idx="1">
                  <c:v>4.1.–
10.1.</c:v>
                </c:pt>
                <c:pt idx="2">
                  <c:v>11.1.–
17.1.</c:v>
                </c:pt>
                <c:pt idx="3">
                  <c:v>18.1.–
24.1.</c:v>
                </c:pt>
                <c:pt idx="4">
                  <c:v>25.1.–
31.1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943</c:v>
                </c:pt>
                <c:pt idx="1">
                  <c:v>1069</c:v>
                </c:pt>
                <c:pt idx="2">
                  <c:v>910</c:v>
                </c:pt>
                <c:pt idx="3">
                  <c:v>885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11.–
7.11.</c:v>
                </c:pt>
                <c:pt idx="1">
                  <c:v>8.11.–
14.11.</c:v>
                </c:pt>
                <c:pt idx="2">
                  <c:v>15.11.–
21.11.</c:v>
                </c:pt>
                <c:pt idx="3">
                  <c:v>22.11.–
28.11.</c:v>
                </c:pt>
                <c:pt idx="4">
                  <c:v>29.11.–
5.12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29</c:v>
                </c:pt>
                <c:pt idx="1">
                  <c:v>102</c:v>
                </c:pt>
                <c:pt idx="2">
                  <c:v>112</c:v>
                </c:pt>
                <c:pt idx="3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E$1</c:f>
              <c:strCache>
                <c:ptCount val="4"/>
                <c:pt idx="0">
                  <c:v>1.2.–
7.2.</c:v>
                </c:pt>
                <c:pt idx="1">
                  <c:v>8.2.–
14.2.</c:v>
                </c:pt>
                <c:pt idx="2">
                  <c:v>15.2.–
21.2.</c:v>
                </c:pt>
                <c:pt idx="3">
                  <c:v>22.2.–
28.2.</c:v>
                </c:pt>
              </c:strCache>
            </c:strRef>
          </c:cat>
          <c:val>
            <c:numRef>
              <c:f>List1!$B$2:$E$2</c:f>
              <c:numCache>
                <c:formatCode>General</c:formatCode>
                <c:ptCount val="4"/>
                <c:pt idx="0">
                  <c:v>650</c:v>
                </c:pt>
                <c:pt idx="1">
                  <c:v>590</c:v>
                </c:pt>
                <c:pt idx="2">
                  <c:v>204</c:v>
                </c:pt>
                <c:pt idx="3">
                  <c:v>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1.3.–
7.3.</c:v>
                </c:pt>
                <c:pt idx="1">
                  <c:v>8.3.–
14.3.</c:v>
                </c:pt>
                <c:pt idx="2">
                  <c:v>15.3.–
21.3.</c:v>
                </c:pt>
                <c:pt idx="3">
                  <c:v>22.3.–
28.3.</c:v>
                </c:pt>
                <c:pt idx="4">
                  <c:v>29.3.–
4.4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43</c:v>
                </c:pt>
                <c:pt idx="1">
                  <c:v>223</c:v>
                </c:pt>
                <c:pt idx="2">
                  <c:v>295</c:v>
                </c:pt>
                <c:pt idx="3">
                  <c:v>192</c:v>
                </c:pt>
                <c:pt idx="4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9.3.–
4.4.</c:v>
                </c:pt>
                <c:pt idx="1">
                  <c:v>5.4.–
11.4.</c:v>
                </c:pt>
                <c:pt idx="2">
                  <c:v>12.4.–
18.4.</c:v>
                </c:pt>
                <c:pt idx="3">
                  <c:v>19.4.–
25.4.</c:v>
                </c:pt>
                <c:pt idx="4">
                  <c:v>26.4.–
2.5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122</c:v>
                </c:pt>
                <c:pt idx="1">
                  <c:v>72</c:v>
                </c:pt>
                <c:pt idx="2">
                  <c:v>32</c:v>
                </c:pt>
                <c:pt idx="3">
                  <c:v>16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4.–
2.5.</c:v>
                </c:pt>
                <c:pt idx="1">
                  <c:v>3.5.–
9.5.</c:v>
                </c:pt>
                <c:pt idx="2">
                  <c:v>10.5.–
16.5.</c:v>
                </c:pt>
                <c:pt idx="3">
                  <c:v>17.5.–
23.5.</c:v>
                </c:pt>
                <c:pt idx="4">
                  <c:v>24.5.–
30.5.</c:v>
                </c:pt>
                <c:pt idx="5">
                  <c:v>31.5.–
6.6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15</c:v>
                </c:pt>
                <c:pt idx="1">
                  <c:v>0</c:v>
                </c:pt>
                <c:pt idx="2">
                  <c:v>14</c:v>
                </c:pt>
                <c:pt idx="3">
                  <c:v>9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1.5.–
6.6.</c:v>
                </c:pt>
                <c:pt idx="1">
                  <c:v>7.6.–
13.6.</c:v>
                </c:pt>
                <c:pt idx="2">
                  <c:v>14.6.–
20.6.</c:v>
                </c:pt>
                <c:pt idx="3">
                  <c:v>21.6.–
27.6.</c:v>
                </c:pt>
                <c:pt idx="4">
                  <c:v>28.6.–
4.7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8.6.–
4.7.</c:v>
                </c:pt>
                <c:pt idx="1">
                  <c:v>5.7.–
11.7.</c:v>
                </c:pt>
                <c:pt idx="2">
                  <c:v>12.7.–
18.7.</c:v>
                </c:pt>
                <c:pt idx="3">
                  <c:v>19.7.–
25.7.</c:v>
                </c:pt>
                <c:pt idx="4">
                  <c:v>26.7.–
1.8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G$1</c:f>
              <c:strCache>
                <c:ptCount val="6"/>
                <c:pt idx="0">
                  <c:v>26.7.–
1.8.</c:v>
                </c:pt>
                <c:pt idx="1">
                  <c:v>2.8.–
8.8.</c:v>
                </c:pt>
                <c:pt idx="2">
                  <c:v>9.8.–
15.8.</c:v>
                </c:pt>
                <c:pt idx="3">
                  <c:v>16.8.–
22.8.</c:v>
                </c:pt>
                <c:pt idx="4">
                  <c:v>23.8.–
29.8.</c:v>
                </c:pt>
                <c:pt idx="5">
                  <c:v>30.8.–
5.9.</c:v>
                </c:pt>
              </c:strCache>
            </c:strRef>
          </c:cat>
          <c:val>
            <c:numRef>
              <c:f>List1!$B$2:$G$2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0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F-49E9-803B-1728AA69F5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30.8.–
5.9.</c:v>
                </c:pt>
                <c:pt idx="1">
                  <c:v>6.9.–
12.9.</c:v>
                </c:pt>
                <c:pt idx="2">
                  <c:v>13.9.–
19.9.</c:v>
                </c:pt>
                <c:pt idx="3">
                  <c:v>20.9.–
26.9.</c:v>
                </c:pt>
                <c:pt idx="4">
                  <c:v>27.9.–
3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28</c:v>
                </c:pt>
                <c:pt idx="1">
                  <c:v>0</c:v>
                </c:pt>
                <c:pt idx="2">
                  <c:v>6</c:v>
                </c:pt>
                <c:pt idx="3">
                  <c:v>14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osob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:$F$1</c:f>
              <c:strCache>
                <c:ptCount val="5"/>
                <c:pt idx="0">
                  <c:v>27.9.–
3.10.</c:v>
                </c:pt>
                <c:pt idx="1">
                  <c:v>4.10.–
10.10.</c:v>
                </c:pt>
                <c:pt idx="2">
                  <c:v>11.10.–
17.10.</c:v>
                </c:pt>
                <c:pt idx="3">
                  <c:v>18.10.–
24.10.</c:v>
                </c:pt>
                <c:pt idx="4">
                  <c:v>25.10.–
31.10.</c:v>
                </c:pt>
              </c:strCache>
            </c:strRef>
          </c:cat>
          <c:val>
            <c:numRef>
              <c:f>List1!$B$2:$F$2</c:f>
              <c:numCache>
                <c:formatCode>General</c:formatCode>
                <c:ptCount val="5"/>
                <c:pt idx="0">
                  <c:v>46</c:v>
                </c:pt>
                <c:pt idx="1">
                  <c:v>30</c:v>
                </c:pt>
                <c:pt idx="2">
                  <c:v>58</c:v>
                </c:pt>
                <c:pt idx="3">
                  <c:v>28</c:v>
                </c:pt>
                <c:pt idx="4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63E-99D6-F4A0CEB762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88445264"/>
        <c:axId val="494149648"/>
      </c:bar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  <a:r>
              <a:rPr lang="cs-CZ" baseline="0" dirty="0"/>
              <a:t> a pracovníci</a:t>
            </a:r>
            <a:endParaRPr lang="cs-CZ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DD-43EC-ACB6-2CFB565CAD6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DD-43EC-ACB6-2CFB565CAD69}"/>
              </c:ext>
            </c:extLst>
          </c:dPt>
          <c:dLbls>
            <c:dLbl>
              <c:idx val="0"/>
              <c:layout>
                <c:manualLayout>
                  <c:x val="3.5487344412856947E-2"/>
                  <c:y val="-5.3230175730255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DD-43EC-ACB6-2CFB565CAD69}"/>
                </c:ext>
              </c:extLst>
            </c:dLbl>
            <c:dLbl>
              <c:idx val="1"/>
              <c:layout>
                <c:manualLayout>
                  <c:x val="-3.4963343241499231E-2"/>
                  <c:y val="4.31151891045110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DD-43EC-ACB6-2CFB565CAD69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Zadávají do Sociálního mdulu ISIN</c:v>
                </c:pt>
                <c:pt idx="1">
                  <c:v>Nezadávají</c:v>
                </c:pt>
              </c:strCache>
            </c:strRef>
          </c:cat>
          <c:val>
            <c:numRef>
              <c:f>List1!$B$2:$B$3</c:f>
              <c:numCache>
                <c:formatCode>0.00%</c:formatCode>
                <c:ptCount val="2"/>
                <c:pt idx="0">
                  <c:v>0.81780126802944675</c:v>
                </c:pt>
                <c:pt idx="1">
                  <c:v>0.18219873197055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DD-43EC-ACB6-2CFB565CA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C4E-4B6D-BC39-F29FC08BBEF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4E-4B6D-BC39-F29FC08BBEF3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4E-4B6D-BC39-F29FC08BBEF3}"/>
                </c:ext>
              </c:extLst>
            </c:dLbl>
            <c:dLbl>
              <c:idx val="1"/>
              <c:layout>
                <c:manualLayout>
                  <c:x val="3.6242943383260673E-2"/>
                  <c:y val="1.894020535141469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4E-4B6D-BC39-F29FC08BBE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8100000000000003</c:v>
                </c:pt>
                <c:pt idx="1">
                  <c:v>0.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4E-4B6D-BC39-F29FC08BBEF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7D-4055-8756-BCAC7661DC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7D-4055-8756-BCAC7661DC44}"/>
              </c:ext>
            </c:extLst>
          </c:dPt>
          <c:dLbls>
            <c:dLbl>
              <c:idx val="0"/>
              <c:layout>
                <c:manualLayout>
                  <c:x val="-0.29351597816452135"/>
                  <c:y val="-4.6398163076137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C7D-4055-8756-BCAC7661DC44}"/>
                </c:ext>
              </c:extLst>
            </c:dLbl>
            <c:dLbl>
              <c:idx val="1"/>
              <c:layout>
                <c:manualLayout>
                  <c:x val="7.1509083454187044E-4"/>
                  <c:y val="-3.774230553784679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C7D-4055-8756-BCAC7661DC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64300000000000002</c:v>
                </c:pt>
                <c:pt idx="1">
                  <c:v>0.35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D-4055-8756-BCAC7661DC4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Cel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22-41E2-BAC0-9FFA33A423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22-41E2-BAC0-9FFA33A42325}"/>
              </c:ext>
            </c:extLst>
          </c:dPt>
          <c:dLbls>
            <c:dLbl>
              <c:idx val="0"/>
              <c:layout>
                <c:manualLayout>
                  <c:x val="-0.31965023312475666"/>
                  <c:y val="-0.161979480220805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E22-41E2-BAC0-9FFA33A42325}"/>
                </c:ext>
              </c:extLst>
            </c:dLbl>
            <c:dLbl>
              <c:idx val="1"/>
              <c:layout>
                <c:manualLayout>
                  <c:x val="4.3491474984860841E-2"/>
                  <c:y val="5.1655105503858271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E22-41E2-BAC0-9FFA33A42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71599999999999997</c:v>
                </c:pt>
                <c:pt idx="1">
                  <c:v>0.283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22-41E2-BAC0-9FFA33A423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racovníc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A8-4DEA-901C-9B274B605125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6A8-4DEA-901C-9B274B605125}"/>
              </c:ext>
            </c:extLst>
          </c:dPt>
          <c:dLbls>
            <c:dLbl>
              <c:idx val="0"/>
              <c:layout>
                <c:manualLayout>
                  <c:x val="-0.17591183084346251"/>
                  <c:y val="-0.2717817315082407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6A8-4DEA-901C-9B274B605125}"/>
                </c:ext>
              </c:extLst>
            </c:dLbl>
            <c:dLbl>
              <c:idx val="1"/>
              <c:layout>
                <c:manualLayout>
                  <c:x val="2.3175630939048023E-2"/>
                  <c:y val="4.783564882755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6A8-4DEA-901C-9B274B6051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99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A8-4DEA-901C-9B274B60512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Klien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D31145"/>
            </a:solidFill>
          </c:spPr>
          <c:dPt>
            <c:idx val="0"/>
            <c:bubble3D val="0"/>
            <c:spPr>
              <a:solidFill>
                <a:srgbClr val="D3114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92-4D3D-8334-193589D5135D}"/>
              </c:ext>
            </c:extLst>
          </c:dPt>
          <c:dPt>
            <c:idx val="1"/>
            <c:bubble3D val="0"/>
            <c:spPr>
              <a:solidFill>
                <a:srgbClr val="383D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92-4D3D-8334-193589D5135D}"/>
              </c:ext>
            </c:extLst>
          </c:dPt>
          <c:dLbls>
            <c:dLbl>
              <c:idx val="0"/>
              <c:layout>
                <c:manualLayout>
                  <c:x val="-0.32618392207200703"/>
                  <c:y val="-0.254444643894312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4931181756074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F92-4D3D-8334-193589D5135D}"/>
                </c:ext>
              </c:extLst>
            </c:dLbl>
            <c:dLbl>
              <c:idx val="1"/>
              <c:layout>
                <c:manualLayout>
                  <c:x val="7.2488169768600615E-3"/>
                  <c:y val="2.582755275192913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718979566560638"/>
                      <c:h val="0.206620422015433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F92-4D3D-8334-193589D513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2"/>
                <c:pt idx="0">
                  <c:v>Celkový počet</c:v>
                </c:pt>
                <c:pt idx="1">
                  <c:v>Pozitivních</c:v>
                </c:pt>
              </c:strCache>
            </c:strRef>
          </c:cat>
          <c:val>
            <c:numRef>
              <c:f>List1!$B$2:$B$3</c:f>
              <c:numCache>
                <c:formatCode>0.0%</c:formatCode>
                <c:ptCount val="2"/>
                <c:pt idx="0">
                  <c:v>0.86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92-4D3D-8334-193589D513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8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22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chart" Target="../charts/chart7.xml"/><Relationship Id="rId5" Type="http://schemas.openxmlformats.org/officeDocument/2006/relationships/tags" Target="../tags/tag13.xml"/><Relationship Id="rId10" Type="http://schemas.openxmlformats.org/officeDocument/2006/relationships/chart" Target="../charts/chart6.xml"/><Relationship Id="rId4" Type="http://schemas.openxmlformats.org/officeDocument/2006/relationships/tags" Target="../tags/tag12.xml"/><Relationship Id="rId9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chart" Target="../charts/chart10.xml"/><Relationship Id="rId4" Type="http://schemas.openxmlformats.org/officeDocument/2006/relationships/tags" Target="../tags/tag19.xml"/><Relationship Id="rId9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chart" Target="../charts/char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364" y="4066289"/>
            <a:ext cx="11841017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Ohniska nákazy a individuální přehledy </a:t>
            </a:r>
          </a:p>
          <a:p>
            <a:r>
              <a:rPr lang="cs-CZ" sz="4000" b="1" dirty="0">
                <a:solidFill>
                  <a:schemeClr val="tx1"/>
                </a:solidFill>
              </a:rPr>
              <a:t>o nákazách v zařízeních sociálních služeb</a:t>
            </a:r>
          </a:p>
        </p:txBody>
      </p:sp>
    </p:spTree>
    <p:extLst>
      <p:ext uri="{BB962C8B-B14F-4D97-AF65-F5344CB8AC3E}">
        <p14:creationId xmlns:p14="http://schemas.microsoft.com/office/powerpoint/2010/main" val="3454604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>
            <p:custDataLst>
              <p:tags r:id="rId1"/>
            </p:custDataLst>
          </p:nvPr>
        </p:nvSpPr>
        <p:spPr>
          <a:xfrm>
            <a:off x="228600" y="434210"/>
            <a:ext cx="11327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ášení šíření nákazy v pobytových sociálních službách je ze strany poskytovatelů reprezentativní, celý systém dosahuje více než 81% pokrytí tohoto segmentu péče. Za celé období sledování od podzimu 2020 bylo registrováno téměř 24 000 nakažených klientů a více než 16 700 nakažených pracovníků. Hlášení o úmrtích COVID pozitivních klientů přesáhlo 3 359, pracovníků zemřelo 19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44420" y="2638833"/>
            <a:ext cx="1095375" cy="111442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>
            <p:custDataLst>
              <p:tags r:id="rId2"/>
            </p:custDataLst>
          </p:nvPr>
        </p:nvSpPr>
        <p:spPr>
          <a:xfrm>
            <a:off x="155170" y="3951344"/>
            <a:ext cx="114738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je z těchto individuálních hlášení patrný nárůst počtu nakažených ve srovnání s říjnem 2021. Tato data tedy nezávisle potvrzují nálezy zjištěné epidemiologickými šetřeními ze strany KHS. Za měsíc listopad bylo dosud nahlášeno 762 nákaz pracovník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680 nákaz klientů pobytových sociálních služeb. Počet hlášených úmrtí klientů dosáhnu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listopadu hodnoty 80. Ačkoli je o nárůst, stále se jedná o počty významně nižší než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arních měsících 2021.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2294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4046FEE0-D8D1-4831-AB60-A1F7DA460B1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93976" y="3337044"/>
          <a:ext cx="8649221" cy="320230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1567">
                  <a:extLst>
                    <a:ext uri="{9D8B030D-6E8A-4147-A177-3AD203B41FA5}">
                      <a16:colId xmlns:a16="http://schemas.microsoft.com/office/drawing/2014/main" val="2551148758"/>
                    </a:ext>
                  </a:extLst>
                </a:gridCol>
                <a:gridCol w="1256029">
                  <a:extLst>
                    <a:ext uri="{9D8B030D-6E8A-4147-A177-3AD203B41FA5}">
                      <a16:colId xmlns:a16="http://schemas.microsoft.com/office/drawing/2014/main" val="2213013832"/>
                    </a:ext>
                  </a:extLst>
                </a:gridCol>
                <a:gridCol w="1611850">
                  <a:extLst>
                    <a:ext uri="{9D8B030D-6E8A-4147-A177-3AD203B41FA5}">
                      <a16:colId xmlns:a16="http://schemas.microsoft.com/office/drawing/2014/main" val="4088924505"/>
                    </a:ext>
                  </a:extLst>
                </a:gridCol>
                <a:gridCol w="1343884">
                  <a:extLst>
                    <a:ext uri="{9D8B030D-6E8A-4147-A177-3AD203B41FA5}">
                      <a16:colId xmlns:a16="http://schemas.microsoft.com/office/drawing/2014/main" val="607463107"/>
                    </a:ext>
                  </a:extLst>
                </a:gridCol>
                <a:gridCol w="2045891">
                  <a:extLst>
                    <a:ext uri="{9D8B030D-6E8A-4147-A177-3AD203B41FA5}">
                      <a16:colId xmlns:a16="http://schemas.microsoft.com/office/drawing/2014/main" val="1349585136"/>
                    </a:ext>
                  </a:extLst>
                </a:gridCol>
              </a:tblGrid>
              <a:tr h="205440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Zařízení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u="none" strike="noStrike" dirty="0">
                          <a:effectLst/>
                        </a:rPr>
                        <a:t>Zadávání do ISIN: pokrytí v % z hlediska osob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9643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1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33389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2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4766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,7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39332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0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751462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8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154115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597231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1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90187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,7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938399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3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072717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,6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5145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6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27956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8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0672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7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993068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17%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413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0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547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575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78%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7979411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" name="Šipka doprava 2"/>
          <p:cNvSpPr/>
          <p:nvPr/>
        </p:nvSpPr>
        <p:spPr>
          <a:xfrm>
            <a:off x="4078224" y="1341581"/>
            <a:ext cx="1280160" cy="8503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FB02E70-00BE-4217-BFFA-D3CA15770A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4696" y="907544"/>
            <a:ext cx="366184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24.1.202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l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áz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PS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438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s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 54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ien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102 57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covník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Tyt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da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jso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še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Z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ho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á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álníh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IN 1724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řízen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Z</a:t>
            </a: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ledis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krytí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1,8%												</a:t>
            </a:r>
          </a:p>
        </p:txBody>
      </p:sp>
      <p:graphicFrame>
        <p:nvGraphicFramePr>
          <p:cNvPr id="28" name="Graf 27">
            <a:extLst>
              <a:ext uri="{FF2B5EF4-FFF2-40B4-BE49-F238E27FC236}">
                <a16:creationId xmlns:a16="http://schemas.microsoft.com/office/drawing/2014/main" id="{070C962C-17CB-4943-9A26-6B0649A6731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192046" y="713780"/>
          <a:ext cx="3858770" cy="234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AE754366-DA2D-456F-993B-3DC23336EE76}"/>
              </a:ext>
            </a:extLst>
          </p:cNvPr>
          <p:cNvSpPr/>
          <p:nvPr/>
        </p:nvSpPr>
        <p:spPr>
          <a:xfrm>
            <a:off x="10368318" y="1371074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9C1BC83-8B2D-4CEB-9068-2C41D10CA1AC}"/>
              </a:ext>
            </a:extLst>
          </p:cNvPr>
          <p:cNvSpPr/>
          <p:nvPr/>
        </p:nvSpPr>
        <p:spPr>
          <a:xfrm>
            <a:off x="10368317" y="1888577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A97C3952-A85E-447F-A446-C31B07748CAD}"/>
              </a:ext>
            </a:extLst>
          </p:cNvPr>
          <p:cNvSpPr txBox="1"/>
          <p:nvPr/>
        </p:nvSpPr>
        <p:spPr>
          <a:xfrm>
            <a:off x="10635556" y="1338037"/>
            <a:ext cx="14734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zadávaj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 sociálníh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u v ISIN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809B18B-7C7D-43CA-B6B5-0397532BC5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</p:spTree>
    <p:extLst>
      <p:ext uri="{BB962C8B-B14F-4D97-AF65-F5344CB8AC3E}">
        <p14:creationId xmlns:p14="http://schemas.microsoft.com/office/powerpoint/2010/main" val="2158377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0299713B-111D-4B25-B8CB-B6E1B62ADA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63624" y="3303770"/>
          <a:ext cx="10232136" cy="3331345"/>
        </p:xfrm>
        <a:graphic>
          <a:graphicData uri="http://schemas.openxmlformats.org/drawingml/2006/table">
            <a:tbl>
              <a:tblPr firstRow="1" firstCol="1">
                <a:tableStyleId>{B301B821-A1FF-4177-AEE7-76D212191A09}</a:tableStyleId>
              </a:tblPr>
              <a:tblGrid>
                <a:gridCol w="1976410">
                  <a:extLst>
                    <a:ext uri="{9D8B030D-6E8A-4147-A177-3AD203B41FA5}">
                      <a16:colId xmlns:a16="http://schemas.microsoft.com/office/drawing/2014/main" val="1751799772"/>
                    </a:ext>
                  </a:extLst>
                </a:gridCol>
                <a:gridCol w="892342">
                  <a:extLst>
                    <a:ext uri="{9D8B030D-6E8A-4147-A177-3AD203B41FA5}">
                      <a16:colId xmlns:a16="http://schemas.microsoft.com/office/drawing/2014/main" val="902193333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364489532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10038520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915934235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612252977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618545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2750514048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756592766"/>
                    </a:ext>
                  </a:extLst>
                </a:gridCol>
                <a:gridCol w="920423">
                  <a:extLst>
                    <a:ext uri="{9D8B030D-6E8A-4147-A177-3AD203B41FA5}">
                      <a16:colId xmlns:a16="http://schemas.microsoft.com/office/drawing/2014/main" val="1460982301"/>
                    </a:ext>
                  </a:extLst>
                </a:gridCol>
              </a:tblGrid>
              <a:tr h="1821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Nakaženo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effectLst/>
                        </a:rPr>
                        <a:t>Prevalence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631"/>
                  </a:ext>
                </a:extLst>
              </a:tr>
              <a:tr h="263108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lient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acovníci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elkem</a:t>
                      </a:r>
                      <a:endParaRPr lang="cs-CZ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b"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90663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41120267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16811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7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934163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1161169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14463784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307135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2343430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17411395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612172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6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8760682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7129281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567351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918007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b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0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1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58068"/>
                  </a:ext>
                </a:extLst>
              </a:tr>
              <a:tr h="182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b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036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3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77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7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%</a:t>
                      </a:r>
                    </a:p>
                  </a:txBody>
                  <a:tcPr marL="9525" marR="9525" marT="9525" marB="0" anchor="ctr"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 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7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3636442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3" name="Tabulka 5">
            <a:extLst>
              <a:ext uri="{FF2B5EF4-FFF2-40B4-BE49-F238E27FC236}">
                <a16:creationId xmlns:a16="http://schemas.microsoft.com/office/drawing/2014/main" id="{6F1BE403-568C-4410-92A9-A495D2FAEF4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96240" y="703131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zitivní celke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0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3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77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03F2B12B-C7FB-433C-B31C-39BA2987435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827777" y="94014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4423F0C7-01F1-48B0-8558-9204B4FCEBBD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005129" y="95823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3CFFE266-D6AE-4802-A847-9E0F891F112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0425" y="93784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Tabulka 5">
            <a:extLst>
              <a:ext uri="{FF2B5EF4-FFF2-40B4-BE49-F238E27FC236}">
                <a16:creationId xmlns:a16="http://schemas.microsoft.com/office/drawing/2014/main" id="{56437C1F-4D10-4D3E-B0A8-9518E5C68D69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96240" y="2014267"/>
          <a:ext cx="42898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3689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7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evalen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BD5140DF-3074-4F6E-8ED2-520771412FF8}"/>
              </a:ext>
            </a:extLst>
          </p:cNvPr>
          <p:cNvSpPr/>
          <p:nvPr/>
        </p:nvSpPr>
        <p:spPr>
          <a:xfrm>
            <a:off x="10603771" y="1639953"/>
            <a:ext cx="232229" cy="2223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4021D8A8-D008-4697-AC1C-88E72BFFF03A}"/>
              </a:ext>
            </a:extLst>
          </p:cNvPr>
          <p:cNvSpPr/>
          <p:nvPr/>
        </p:nvSpPr>
        <p:spPr>
          <a:xfrm>
            <a:off x="10603770" y="2157456"/>
            <a:ext cx="232229" cy="222358"/>
          </a:xfrm>
          <a:prstGeom prst="rect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413E6CF2-B54B-44CC-B0E1-F5F79475BD0F}"/>
              </a:ext>
            </a:extLst>
          </p:cNvPr>
          <p:cNvSpPr txBox="1"/>
          <p:nvPr/>
        </p:nvSpPr>
        <p:spPr>
          <a:xfrm>
            <a:off x="10825623" y="1598768"/>
            <a:ext cx="9701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2F49224-0D50-4D73-8F2F-C6E32D1DD9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095626" y="6599244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</p:spTree>
    <p:extLst>
      <p:ext uri="{BB962C8B-B14F-4D97-AF65-F5344CB8AC3E}">
        <p14:creationId xmlns:p14="http://schemas.microsoft.com/office/powerpoint/2010/main" val="27177276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A4FC8911-8549-4A16-8D1B-80DFEF2A7C37}"/>
              </a:ext>
            </a:extLst>
          </p:cNvPr>
          <p:cNvSpPr txBox="1"/>
          <p:nvPr/>
        </p:nvSpPr>
        <p:spPr>
          <a:xfrm>
            <a:off x="11062389" y="1134877"/>
            <a:ext cx="93647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mřelí</a:t>
            </a:r>
          </a:p>
        </p:txBody>
      </p:sp>
      <p:sp>
        <p:nvSpPr>
          <p:cNvPr id="25" name="Obdélník 30">
            <a:extLst>
              <a:ext uri="{FF2B5EF4-FFF2-40B4-BE49-F238E27FC236}">
                <a16:creationId xmlns:a16="http://schemas.microsoft.com/office/drawing/2014/main" id="{DB9838B0-0A33-4A4B-986E-9D9F71AF81E2}"/>
              </a:ext>
            </a:extLst>
          </p:cNvPr>
          <p:cNvSpPr/>
          <p:nvPr/>
        </p:nvSpPr>
        <p:spPr>
          <a:xfrm>
            <a:off x="10825441" y="1345021"/>
            <a:ext cx="232229" cy="222358"/>
          </a:xfrm>
          <a:prstGeom prst="rect">
            <a:avLst/>
          </a:prstGeom>
          <a:solidFill>
            <a:srgbClr val="D311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31">
            <a:extLst>
              <a:ext uri="{FF2B5EF4-FFF2-40B4-BE49-F238E27FC236}">
                <a16:creationId xmlns:a16="http://schemas.microsoft.com/office/drawing/2014/main" id="{DEA0E672-4606-4BB6-81AF-B5D1874019D7}"/>
              </a:ext>
            </a:extLst>
          </p:cNvPr>
          <p:cNvSpPr/>
          <p:nvPr/>
        </p:nvSpPr>
        <p:spPr>
          <a:xfrm>
            <a:off x="10825442" y="2161275"/>
            <a:ext cx="232229" cy="222358"/>
          </a:xfrm>
          <a:prstGeom prst="rect">
            <a:avLst/>
          </a:prstGeom>
          <a:solidFill>
            <a:schemeClr val="accent5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Tabulka 5">
            <a:extLst>
              <a:ext uri="{FF2B5EF4-FFF2-40B4-BE49-F238E27FC236}">
                <a16:creationId xmlns:a16="http://schemas.microsoft.com/office/drawing/2014/main" id="{6EB11C65-1CDD-4550-89B7-A08D02ED31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96240" y="1294785"/>
          <a:ext cx="4289898" cy="110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66">
                  <a:extLst>
                    <a:ext uri="{9D8B030D-6E8A-4147-A177-3AD203B41FA5}">
                      <a16:colId xmlns:a16="http://schemas.microsoft.com/office/drawing/2014/main" val="3746780257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3309322503"/>
                    </a:ext>
                  </a:extLst>
                </a:gridCol>
                <a:gridCol w="1429966">
                  <a:extLst>
                    <a:ext uri="{9D8B030D-6E8A-4147-A177-3AD203B41FA5}">
                      <a16:colId xmlns:a16="http://schemas.microsoft.com/office/drawing/2014/main" val="1197654578"/>
                    </a:ext>
                  </a:extLst>
                </a:gridCol>
              </a:tblGrid>
              <a:tr h="310173">
                <a:tc gridSpan="3">
                  <a:txBody>
                    <a:bodyPr/>
                    <a:lstStyle/>
                    <a:p>
                      <a:pPr algn="ctr"/>
                      <a:r>
                        <a:rPr lang="cs-CZ" dirty="0"/>
                        <a:t>Úmrtí z pozitivníc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9306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lient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acovníci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</a:p>
                  </a:txBody>
                  <a:tcPr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85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1475020"/>
                  </a:ext>
                </a:extLst>
              </a:tr>
            </a:tbl>
          </a:graphicData>
        </a:graphic>
      </p:graphicFrame>
      <p:graphicFrame>
        <p:nvGraphicFramePr>
          <p:cNvPr id="35" name="Graf 34">
            <a:extLst>
              <a:ext uri="{FF2B5EF4-FFF2-40B4-BE49-F238E27FC236}">
                <a16:creationId xmlns:a16="http://schemas.microsoft.com/office/drawing/2014/main" id="{9825F808-DBDA-4681-8826-95CA8D4BD0F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827777" y="844899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Graf 35">
            <a:extLst>
              <a:ext uri="{FF2B5EF4-FFF2-40B4-BE49-F238E27FC236}">
                <a16:creationId xmlns:a16="http://schemas.microsoft.com/office/drawing/2014/main" id="{57DC76AD-7CE7-40BD-9E22-DF3C22F5124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005129" y="862983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8BB4745F-03D5-4071-8407-C7CEC07B41AF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650425" y="842596"/>
          <a:ext cx="1943809" cy="2197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D16BFC76-C19B-4A8D-8DDB-FDA0B234E69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540765" y="2971287"/>
          <a:ext cx="10115198" cy="325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2143">
                  <a:extLst>
                    <a:ext uri="{9D8B030D-6E8A-4147-A177-3AD203B41FA5}">
                      <a16:colId xmlns:a16="http://schemas.microsoft.com/office/drawing/2014/main" val="879520779"/>
                    </a:ext>
                  </a:extLst>
                </a:gridCol>
                <a:gridCol w="1279542">
                  <a:extLst>
                    <a:ext uri="{9D8B030D-6E8A-4147-A177-3AD203B41FA5}">
                      <a16:colId xmlns:a16="http://schemas.microsoft.com/office/drawing/2014/main" val="3367828616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1646545094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611571609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934922861"/>
                    </a:ext>
                  </a:extLst>
                </a:gridCol>
                <a:gridCol w="2369088">
                  <a:extLst>
                    <a:ext uri="{9D8B030D-6E8A-4147-A177-3AD203B41FA5}">
                      <a16:colId xmlns:a16="http://schemas.microsoft.com/office/drawing/2014/main" val="49330528"/>
                    </a:ext>
                  </a:extLst>
                </a:gridCol>
              </a:tblGrid>
              <a:tr h="268887">
                <a:tc rowSpan="2">
                  <a:txBody>
                    <a:bodyPr/>
                    <a:lstStyle/>
                    <a:p>
                      <a:pPr algn="ctr"/>
                      <a:endParaRPr lang="cs-CZ" sz="1200" dirty="0"/>
                    </a:p>
                  </a:txBody>
                  <a:tcPr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3114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Nakažení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solidFill>
                      <a:srgbClr val="D3114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Úmrtí</a:t>
                      </a:r>
                    </a:p>
                  </a:txBody>
                  <a:tcPr anchor="ctr">
                    <a:lnL w="12700" cmpd="sng">
                      <a:noFill/>
                    </a:lnL>
                    <a:lnB w="38100" cmpd="sng">
                      <a:noFill/>
                    </a:lnB>
                    <a:solidFill>
                      <a:srgbClr val="D3114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094322"/>
                  </a:ext>
                </a:extLst>
              </a:tr>
              <a:tr h="337976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06" marR="6906" marT="6906" marB="0" anchor="b">
                    <a:solidFill>
                      <a:srgbClr val="D3114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 pobytových službách</a:t>
                      </a:r>
                    </a:p>
                  </a:txBody>
                  <a:tcPr marL="9525" marR="9525" marT="9525" marB="0" anchor="ctr">
                    <a:lnL w="38100" cmpd="sng">
                      <a:noFill/>
                    </a:lnL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z nakažených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ový počet úmrtí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</a:t>
                      </a:r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mrtí v pobytových službách z celkového počtu úmrtí</a:t>
                      </a:r>
                    </a:p>
                  </a:txBody>
                  <a:tcPr marL="9525" marR="9525" marT="9525" marB="0" anchor="ctr">
                    <a:lnT w="381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01625"/>
                  </a:ext>
                </a:extLst>
              </a:tr>
              <a:tr h="92896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7 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96716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2155320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1500357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979925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279305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0391501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00148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215259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4638357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96771243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136076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4971066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68908529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8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1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3 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7902375"/>
                  </a:ext>
                </a:extLst>
              </a:tr>
              <a:tr h="17674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77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8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643 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5481168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84C2B06D-1EA4-4221-AB94-4992129761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</p:spTree>
    <p:extLst>
      <p:ext uri="{BB962C8B-B14F-4D97-AF65-F5344CB8AC3E}">
        <p14:creationId xmlns:p14="http://schemas.microsoft.com/office/powerpoint/2010/main" val="41472888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6EE5A5A9-1D77-4373-8BAE-354735C4B92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17499" y="1113735"/>
          <a:ext cx="5445129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24F8B5FE-5BCC-438A-9460-39F40971553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096000" y="1113736"/>
          <a:ext cx="5543552" cy="5415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4BC6512-09A9-45C7-9C64-6483F36FCD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95626" y="6583202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</p:spTree>
    <p:extLst>
      <p:ext uri="{BB962C8B-B14F-4D97-AF65-F5344CB8AC3E}">
        <p14:creationId xmlns:p14="http://schemas.microsoft.com/office/powerpoint/2010/main" val="41859430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5AC5B58-68B4-4B88-BC43-BA177AD2572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096000" y="1130962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373"/>
            <a:ext cx="7625669" cy="576000"/>
          </a:xfrm>
        </p:spPr>
        <p:txBody>
          <a:bodyPr>
            <a:noAutofit/>
          </a:bodyPr>
          <a:lstStyle/>
          <a:p>
            <a:r>
              <a:rPr lang="cs-CZ" dirty="0"/>
              <a:t>Souhrn situace v sociálních zařízeních pobytových služeb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CC91C51-DB83-45AB-9039-0844F5E789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94659" y="1130963"/>
          <a:ext cx="5601341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6D4CE99E-2646-4004-897D-BD3135C0FC1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083595" y="6581001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a ISIN – modul sociálních služeb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</p:spTree>
    <p:extLst>
      <p:ext uri="{BB962C8B-B14F-4D97-AF65-F5344CB8AC3E}">
        <p14:creationId xmlns:p14="http://schemas.microsoft.com/office/powerpoint/2010/main" val="6517889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30006DBE-A660-415B-AEC3-B17DAF8F0BB4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1C6E9E-768E-466F-BF16-2898D9FD2D57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1982061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9D7E5688-CECF-4F5B-A73A-AB5B8E86B898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5">
            <a:extLst>
              <a:ext uri="{FF2B5EF4-FFF2-40B4-BE49-F238E27FC236}">
                <a16:creationId xmlns:a16="http://schemas.microsoft.com/office/drawing/2014/main" id="{86979FC1-366B-46FD-B231-EEADA63DBE0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764060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osob v sociálních službách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10" name="Chart 31">
            <a:extLst>
              <a:ext uri="{FF2B5EF4-FFF2-40B4-BE49-F238E27FC236}">
                <a16:creationId xmlns:a16="http://schemas.microsoft.com/office/drawing/2014/main" id="{BE5C8BE7-0F1A-4F58-98DB-BC5FB33B5BD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79571" y="969185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E23433FB-4692-4304-9144-77DE8AA9A529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792623A3-E899-4D9F-85FF-B10B9C35CD76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40048117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nově pozitivních pracovníků a klient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48263"/>
          <a:ext cx="11895220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90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959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71110924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do 26.11.</a:t>
                      </a:r>
                      <a:endParaRPr kumimoji="0" lang="cs-CZ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529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719673" cy="576000"/>
          </a:xfrm>
        </p:spPr>
        <p:txBody>
          <a:bodyPr/>
          <a:lstStyle/>
          <a:p>
            <a:r>
              <a:rPr lang="cs-CZ" dirty="0"/>
              <a:t>Úvod – zdroje dat a koncepce analýz </a:t>
            </a: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 rotWithShape="1">
          <a:blip r:embed="rId2"/>
          <a:srcRect l="29757"/>
          <a:stretch/>
        </p:blipFill>
        <p:spPr>
          <a:xfrm>
            <a:off x="1762433" y="4150796"/>
            <a:ext cx="2770419" cy="2283052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6201" y="896112"/>
            <a:ext cx="3168556" cy="2484490"/>
          </a:xfrm>
          <a:prstGeom prst="rect">
            <a:avLst/>
          </a:prstGeom>
        </p:spPr>
      </p:pic>
      <p:sp>
        <p:nvSpPr>
          <p:cNvPr id="14" name="Šipka nahoru, doprava i doleva 13"/>
          <p:cNvSpPr/>
          <p:nvPr/>
        </p:nvSpPr>
        <p:spPr>
          <a:xfrm rot="16200000">
            <a:off x="-2074261" y="3478063"/>
            <a:ext cx="6194017" cy="467360"/>
          </a:xfrm>
          <a:prstGeom prst="leftRightUpArrow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6200000">
            <a:off x="-2606131" y="3332358"/>
            <a:ext cx="5971034" cy="75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OVID-19: </a:t>
            </a:r>
            <a:r>
              <a:rPr lang="cs-CZ" sz="1800" b="1" dirty="0">
                <a:solidFill>
                  <a:srgbClr val="2E5982"/>
                </a:solidFill>
                <a:latin typeface="Roboto" pitchFamily="2" charset="0"/>
                <a:ea typeface="Roboto" pitchFamily="2" charset="0"/>
              </a:rPr>
              <a:t>Komponenty informačního systému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pokrývají individuální</a:t>
            </a:r>
            <a:r>
              <a:rPr kumimoji="0" lang="cs-CZ" sz="1800" b="0" i="0" u="none" strike="noStrike" kern="1200" cap="none" spc="0" normalizeH="0" noProof="0" dirty="0">
                <a:ln>
                  <a:noFill/>
                </a:ln>
                <a:solidFill>
                  <a:srgbClr val="2E598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 záznamy o nákaze i šetření ohnisek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E5982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92727">
            <a:off x="4215712" y="1258975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Epidemická šetření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záznamy o ohniscích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22" name="Nadpis 5">
            <a:extLst>
              <a:ext uri="{FF2B5EF4-FFF2-40B4-BE49-F238E27FC236}">
                <a16:creationId xmlns:a16="http://schemas.microsoft.com/office/drawing/2014/main" id="{8181A883-E687-47DC-A882-8FB561F92926}"/>
              </a:ext>
            </a:extLst>
          </p:cNvPr>
          <p:cNvSpPr txBox="1">
            <a:spLocks/>
          </p:cNvSpPr>
          <p:nvPr/>
        </p:nvSpPr>
        <p:spPr>
          <a:xfrm rot="19477356">
            <a:off x="4103084" y="4232334"/>
            <a:ext cx="2681764" cy="758771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Centrální systém ISIN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j-cs"/>
              </a:rPr>
              <a:t>a jeho komponenty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j-cs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788152" y="4746649"/>
            <a:ext cx="59710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hlášení o nákaze v sociálních zařízení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 data o nákazách klientů a pracovníků sociálních zařízení. Zdrojem dat je Informační systém infekčních nemocí a jeho modul vyvinutý pro pobytová sociální zřízení. </a:t>
            </a:r>
            <a:r>
              <a:rPr lang="cs-CZ" sz="1600" dirty="0">
                <a:solidFill>
                  <a:srgbClr val="000000"/>
                </a:solidFill>
                <a:latin typeface="Arial" panose="020B0604020202020204"/>
              </a:rPr>
              <a:t>Záznam o nákaze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usí být nutně spojen s konkrétním ohniskem, jde o nezávislý paralelní zdroj dat.</a:t>
            </a:r>
            <a:r>
              <a:rPr kumimoji="0" lang="cs-CZ" sz="16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ejména nákaza pracovníků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ůže proběhnout v rodině, v běžném životě, při volnočasových aktivitách, …. 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3640" y="1638360"/>
            <a:ext cx="5148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ce</a:t>
            </a:r>
            <a:r>
              <a:rPr kumimoji="0" lang="cs-CZ" sz="16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hnisek nákazy při šetřeních KHS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hniska nákazy a jejich identifikace, velikost a rozsah. Popis sociálních zařízení jako možného zdroje šíření nákazy s identifikací rozsahu tohoto šíření. Srovnání rizikovosti s jinými typy ohnisek, provozů a aktivit. Výstup epidemických šetření KHS. </a:t>
            </a:r>
          </a:p>
        </p:txBody>
      </p:sp>
    </p:spTree>
    <p:extLst>
      <p:ext uri="{BB962C8B-B14F-4D97-AF65-F5344CB8AC3E}">
        <p14:creationId xmlns:p14="http://schemas.microsoft.com/office/powerpoint/2010/main" val="91595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v sociálních službách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201932" y="3135089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ě zemřelýc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FA40DFCF-4D37-4845-98CB-EE8BCD3CF07B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FE5136B3-EEEC-483C-9FC4-B83BA247145B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38643643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EE551CD-5D1A-483F-AF1A-60889BEE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" y="2"/>
            <a:ext cx="8495561" cy="576000"/>
          </a:xfrm>
        </p:spPr>
        <p:txBody>
          <a:bodyPr/>
          <a:lstStyle/>
          <a:p>
            <a:r>
              <a:rPr lang="en-US" dirty="0"/>
              <a:t>Po</a:t>
            </a:r>
            <a:r>
              <a:rPr lang="cs-CZ" dirty="0"/>
              <a:t>čet zemřelých klientů a pracovníků v sociálních službách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7B4FBDD-84FD-46F8-8DE6-0DA2912BA53C}"/>
              </a:ext>
            </a:extLst>
          </p:cNvPr>
          <p:cNvSpPr txBox="1"/>
          <p:nvPr/>
        </p:nvSpPr>
        <p:spPr>
          <a:xfrm>
            <a:off x="136358" y="674385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graphicFrame>
        <p:nvGraphicFramePr>
          <p:cNvPr id="6" name="Tabulka 3">
            <a:extLst>
              <a:ext uri="{FF2B5EF4-FFF2-40B4-BE49-F238E27FC236}">
                <a16:creationId xmlns:a16="http://schemas.microsoft.com/office/drawing/2014/main" id="{53E0F6FE-76CB-4C62-8B30-56DAF497A36E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36358" y="948263"/>
          <a:ext cx="11895220" cy="565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790">
                  <a:extLst>
                    <a:ext uri="{9D8B030D-6E8A-4147-A177-3AD203B41FA5}">
                      <a16:colId xmlns:a16="http://schemas.microsoft.com/office/drawing/2014/main" val="30474796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78148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1443567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76385793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2518168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57113603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3930563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725779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2559332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8836750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2713280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9238802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55090716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8080346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83644141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391611248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83991841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61735145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76113944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48031023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45696759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3448655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34793605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97346861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1254722975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146802987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635052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629925830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698107976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4290927774"/>
                    </a:ext>
                  </a:extLst>
                </a:gridCol>
                <a:gridCol w="356881">
                  <a:extLst>
                    <a:ext uri="{9D8B030D-6E8A-4147-A177-3AD203B41FA5}">
                      <a16:colId xmlns:a16="http://schemas.microsoft.com/office/drawing/2014/main" val="2557076706"/>
                    </a:ext>
                  </a:extLst>
                </a:gridCol>
              </a:tblGrid>
              <a:tr h="602422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Říjen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istopad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Prosinec 2020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Led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Únor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řezen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uben 2021</a:t>
                      </a:r>
                      <a:endParaRPr lang="cs-CZ" sz="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cs-CZ" sz="18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vět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cs-CZ" sz="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Červenec 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7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rpen</a:t>
                      </a:r>
                      <a:b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3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áří 2021</a:t>
                      </a:r>
                      <a:endParaRPr lang="cs-CZ" sz="800" dirty="0"/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Říjen 2021</a:t>
                      </a:r>
                      <a:r>
                        <a:rPr lang="cs-CZ" sz="700" dirty="0"/>
                        <a:t>.</a:t>
                      </a: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opad 2021</a:t>
                      </a:r>
                      <a:endParaRPr kumimoji="0" lang="cs-CZ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dirty="0"/>
                        <a:t>– do 26.11.</a:t>
                      </a:r>
                      <a:endParaRPr kumimoji="0" lang="cs-CZ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365609"/>
                  </a:ext>
                </a:extLst>
              </a:tr>
              <a:tr h="317064">
                <a:tc>
                  <a:txBody>
                    <a:bodyPr/>
                    <a:lstStyle/>
                    <a:p>
                      <a:endParaRPr lang="cs-CZ" sz="1200" dirty="0"/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Personál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600" dirty="0">
                          <a:solidFill>
                            <a:schemeClr val="bg1"/>
                          </a:solidFill>
                        </a:rPr>
                        <a:t>Klienti</a:t>
                      </a:r>
                    </a:p>
                  </a:txBody>
                  <a:tcPr marL="36000" marR="36000" marT="0" marB="0"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1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28052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1862616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2388421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1331205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8918248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107194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107956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0750352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975262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25061497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6524218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27203803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2720954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6938670"/>
                  </a:ext>
                </a:extLst>
              </a:tr>
              <a:tr h="390386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3666540"/>
                  </a:ext>
                </a:extLst>
              </a:tr>
              <a:tr h="299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ý souče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48228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84065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vyžadující hospitalizaci z důvodu COVID-1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05507" y="1029671"/>
          <a:ext cx="11518821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6699F624-D5B2-4011-B4A6-2BC995418F25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94511879-45E4-4E33-970C-77CDADFB8F6C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16533978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DA7FDE-62BA-4179-BA4D-AB192F26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7326652" cy="576000"/>
          </a:xfrm>
        </p:spPr>
        <p:txBody>
          <a:bodyPr/>
          <a:lstStyle/>
          <a:p>
            <a:r>
              <a:rPr lang="cs-CZ" dirty="0"/>
              <a:t>Klienti a pracovníci v sociálních službách s těžkým průběhem nemoc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60173AA5-760E-4890-90E2-16710D92A897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352338" y="934057"/>
          <a:ext cx="11232858" cy="56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CBDB047-9B6A-4800-8865-B2F14B9CE230}"/>
              </a:ext>
            </a:extLst>
          </p:cNvPr>
          <p:cNvSpPr txBox="1"/>
          <p:nvPr/>
        </p:nvSpPr>
        <p:spPr>
          <a:xfrm rot="16200000">
            <a:off x="-1182697" y="3135089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nových případ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8FB1B2-5954-4917-86E8-05CAC9208F90}"/>
              </a:ext>
            </a:extLst>
          </p:cNvPr>
          <p:cNvSpPr txBox="1"/>
          <p:nvPr/>
        </p:nvSpPr>
        <p:spPr>
          <a:xfrm>
            <a:off x="0" y="597841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 a ISIN – modul sociálních služeb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BC4FF1E4-8D78-4119-AE73-5ECF233E5080}"/>
              </a:ext>
            </a:extLst>
          </p:cNvPr>
          <p:cNvCxnSpPr/>
          <p:nvPr/>
        </p:nvCxnSpPr>
        <p:spPr>
          <a:xfrm>
            <a:off x="8554802" y="1295549"/>
            <a:ext cx="360000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>
            <a:extLst>
              <a:ext uri="{FF2B5EF4-FFF2-40B4-BE49-F238E27FC236}">
                <a16:creationId xmlns:a16="http://schemas.microsoft.com/office/drawing/2014/main" id="{36715F8D-6236-491C-8E3C-B3955460BFC3}"/>
              </a:ext>
            </a:extLst>
          </p:cNvPr>
          <p:cNvSpPr txBox="1"/>
          <p:nvPr/>
        </p:nvSpPr>
        <p:spPr>
          <a:xfrm>
            <a:off x="8917060" y="1126275"/>
            <a:ext cx="22829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denní klouzavý průměr</a:t>
            </a:r>
          </a:p>
        </p:txBody>
      </p:sp>
    </p:spTree>
    <p:extLst>
      <p:ext uri="{BB962C8B-B14F-4D97-AF65-F5344CB8AC3E}">
        <p14:creationId xmlns:p14="http://schemas.microsoft.com/office/powerpoint/2010/main" val="20535477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7703" y="4066289"/>
            <a:ext cx="9869424" cy="1564690"/>
          </a:xfrm>
        </p:spPr>
        <p:txBody>
          <a:bodyPr>
            <a:noAutofit/>
          </a:bodyPr>
          <a:lstStyle/>
          <a:p>
            <a:r>
              <a:rPr lang="cs-CZ" sz="4000" b="1" dirty="0">
                <a:solidFill>
                  <a:schemeClr val="tx1"/>
                </a:solidFill>
              </a:rPr>
              <a:t>Příloha: retrospektivní přehled hlášení KHS po měsících</a:t>
            </a:r>
          </a:p>
        </p:txBody>
      </p:sp>
    </p:spTree>
    <p:extLst>
      <p:ext uri="{BB962C8B-B14F-4D97-AF65-F5344CB8AC3E}">
        <p14:creationId xmlns:p14="http://schemas.microsoft.com/office/powerpoint/2010/main" val="24722864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E407BC21-98D2-4484-9EC1-D74879DC1DFE}"/>
              </a:ext>
            </a:extLst>
          </p:cNvPr>
          <p:cNvGraphicFramePr>
            <a:graphicFrameLocks noGrp="1"/>
          </p:cNvGraphicFramePr>
          <p:nvPr/>
        </p:nvGraphicFramePr>
        <p:xfrm>
          <a:off x="7357698" y="5556199"/>
          <a:ext cx="4559770" cy="860988"/>
        </p:xfrm>
        <a:graphic>
          <a:graphicData uri="http://schemas.openxmlformats.org/drawingml/2006/table">
            <a:tbl>
              <a:tblPr/>
              <a:tblGrid>
                <a:gridCol w="911954">
                  <a:extLst>
                    <a:ext uri="{9D8B030D-6E8A-4147-A177-3AD203B41FA5}">
                      <a16:colId xmlns:a16="http://schemas.microsoft.com/office/drawing/2014/main" val="3781823447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3939987608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2504438164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1301809795"/>
                    </a:ext>
                  </a:extLst>
                </a:gridCol>
                <a:gridCol w="911954">
                  <a:extLst>
                    <a:ext uri="{9D8B030D-6E8A-4147-A177-3AD203B41FA5}">
                      <a16:colId xmlns:a16="http://schemas.microsoft.com/office/drawing/2014/main" val="782449002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873528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671677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</a:t>
            </a:r>
          </a:p>
        </p:txBody>
      </p:sp>
    </p:spTree>
    <p:extLst>
      <p:ext uri="{BB962C8B-B14F-4D97-AF65-F5344CB8AC3E}">
        <p14:creationId xmlns:p14="http://schemas.microsoft.com/office/powerpoint/2010/main" val="5583502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83B49AA-8160-4750-A999-FE1211C7E208}"/>
              </a:ext>
            </a:extLst>
          </p:cNvPr>
          <p:cNvGraphicFramePr>
            <a:graphicFrameLocks noGrp="1"/>
          </p:cNvGraphicFramePr>
          <p:nvPr/>
        </p:nvGraphicFramePr>
        <p:xfrm>
          <a:off x="7366472" y="5556199"/>
          <a:ext cx="4550995" cy="860988"/>
        </p:xfrm>
        <a:graphic>
          <a:graphicData uri="http://schemas.openxmlformats.org/drawingml/2006/table">
            <a:tbl>
              <a:tblPr/>
              <a:tblGrid>
                <a:gridCol w="910199">
                  <a:extLst>
                    <a:ext uri="{9D8B030D-6E8A-4147-A177-3AD203B41FA5}">
                      <a16:colId xmlns:a16="http://schemas.microsoft.com/office/drawing/2014/main" val="14559615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1323571245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38509464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740278421"/>
                    </a:ext>
                  </a:extLst>
                </a:gridCol>
                <a:gridCol w="910199">
                  <a:extLst>
                    <a:ext uri="{9D8B030D-6E8A-4147-A177-3AD203B41FA5}">
                      <a16:colId xmlns:a16="http://schemas.microsoft.com/office/drawing/2014/main" val="2618420229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53447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4800920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0 </a:t>
            </a:r>
          </a:p>
        </p:txBody>
      </p:sp>
    </p:spTree>
    <p:extLst>
      <p:ext uri="{BB962C8B-B14F-4D97-AF65-F5344CB8AC3E}">
        <p14:creationId xmlns:p14="http://schemas.microsoft.com/office/powerpoint/2010/main" val="29070372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88B3E13-B2CE-4977-A51D-63EE09726F48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307581347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663620388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150320877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545488870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400996549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00566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145489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0 </a:t>
            </a:r>
          </a:p>
        </p:txBody>
      </p:sp>
    </p:spTree>
    <p:extLst>
      <p:ext uri="{BB962C8B-B14F-4D97-AF65-F5344CB8AC3E}">
        <p14:creationId xmlns:p14="http://schemas.microsoft.com/office/powerpoint/2010/main" val="26059603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E4A733E4-6C6F-4673-8EB3-43E9F53AA9A4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43019"/>
          <a:ext cx="4568082" cy="87416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53268115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858746802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7708748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39288601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201014498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111499919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00213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9370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7.–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.–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8.–16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8.–23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8.–30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0 </a:t>
            </a:r>
          </a:p>
        </p:txBody>
      </p:sp>
    </p:spTree>
    <p:extLst>
      <p:ext uri="{BB962C8B-B14F-4D97-AF65-F5344CB8AC3E}">
        <p14:creationId xmlns:p14="http://schemas.microsoft.com/office/powerpoint/2010/main" val="26185533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0 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716FADC-95C9-4EF9-8F0F-16C13097F4FC}"/>
              </a:ext>
            </a:extLst>
          </p:cNvPr>
          <p:cNvGraphicFramePr>
            <a:graphicFrameLocks noGrp="1"/>
          </p:cNvGraphicFramePr>
          <p:nvPr/>
        </p:nvGraphicFramePr>
        <p:xfrm>
          <a:off x="7357928" y="5556199"/>
          <a:ext cx="4559540" cy="853440"/>
        </p:xfrm>
        <a:graphic>
          <a:graphicData uri="http://schemas.openxmlformats.org/drawingml/2006/table">
            <a:tbl>
              <a:tblPr/>
              <a:tblGrid>
                <a:gridCol w="911908">
                  <a:extLst>
                    <a:ext uri="{9D8B030D-6E8A-4147-A177-3AD203B41FA5}">
                      <a16:colId xmlns:a16="http://schemas.microsoft.com/office/drawing/2014/main" val="4036163115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73645088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1279023539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3734581894"/>
                    </a:ext>
                  </a:extLst>
                </a:gridCol>
                <a:gridCol w="911908">
                  <a:extLst>
                    <a:ext uri="{9D8B030D-6E8A-4147-A177-3AD203B41FA5}">
                      <a16:colId xmlns:a16="http://schemas.microsoft.com/office/drawing/2014/main" val="2485002274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35001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96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862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/>
          <p:cNvSpPr txBox="1"/>
          <p:nvPr/>
        </p:nvSpPr>
        <p:spPr>
          <a:xfrm>
            <a:off x="228600" y="712116"/>
            <a:ext cx="113270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Dle hlášení KHS došlo v říjnu a zejména v listopadu 2021 k mírnému nárůstu počtu nákaz (a ohnisek) v sociálních zařízeních. Jde ale o počty, které jsou velmi významně nižší ve srovnání např. s jarem 2021. KHS identifikovaly za říjen 15 ohnisek v sociálních zařízeních (celkem 158 nakažených osob) a za listopad 40 ohnisek s celkem 640 dosud zařazenými nakaženými osobami. </a:t>
            </a:r>
            <a:endParaRPr kumimoji="0" lang="cs-CZ" sz="2400" b="1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  <a:p>
            <a:pPr algn="ctr">
              <a:defRPr/>
            </a:pPr>
            <a:endParaRPr lang="cs-CZ" sz="2400" b="1" dirty="0">
              <a:solidFill>
                <a:srgbClr val="C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Ve srovnání s jarem 2021 jde stále o velmi nízké počty a při dělení na kraje pouze </a:t>
            </a:r>
          </a:p>
          <a:p>
            <a:pPr algn="ctr">
              <a:defRPr/>
            </a:pPr>
            <a:r>
              <a:rPr kumimoji="0" lang="cs-CZ" sz="2400" b="1" i="0" u="none" strike="noStrike" kern="1200" cap="none" spc="0" normalizeH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</a:rPr>
              <a:t>o sporadické výskyty nákazy. </a:t>
            </a:r>
            <a:r>
              <a:rPr lang="cs-CZ" sz="2400" b="1" dirty="0">
                <a:solidFill>
                  <a:srgbClr val="0000FF"/>
                </a:solidFill>
                <a:latin typeface="Calibri" panose="020F0502020204030204"/>
              </a:rPr>
              <a:t>Tato data ukazují, že situace v sociálních zařízeních je stále pod kontrolou, velký ochranný efekt hraje vakcinace a také samozřejmě počet klientů, kteří prodělali nákazu v uplynulém období. </a:t>
            </a:r>
            <a:endParaRPr lang="cs-CZ" sz="2400" dirty="0">
              <a:solidFill>
                <a:srgbClr val="0000FF"/>
              </a:solidFill>
              <a:latin typeface="Calibri" panose="020F0502020204030204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232579" y="4647999"/>
            <a:ext cx="1319062" cy="817253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7983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048D0C3-4A1B-4F04-8420-3640670E172C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7"/>
          <a:ext cx="4564170" cy="853442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72228755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30873051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9226697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8627300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805520120"/>
                    </a:ext>
                  </a:extLst>
                </a:gridCol>
              </a:tblGrid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578"/>
                  </a:ext>
                </a:extLst>
              </a:tr>
              <a:tr h="42672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6539175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5 (3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8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0 (5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0 </a:t>
            </a:r>
          </a:p>
        </p:txBody>
      </p:sp>
    </p:spTree>
    <p:extLst>
      <p:ext uri="{BB962C8B-B14F-4D97-AF65-F5344CB8AC3E}">
        <p14:creationId xmlns:p14="http://schemas.microsoft.com/office/powerpoint/2010/main" val="17170896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F0AA7A5-EFAC-4CD9-9800-84DEB34D6674}"/>
              </a:ext>
            </a:extLst>
          </p:cNvPr>
          <p:cNvGraphicFramePr>
            <a:graphicFrameLocks noGrp="1"/>
          </p:cNvGraphicFramePr>
          <p:nvPr/>
        </p:nvGraphicFramePr>
        <p:xfrm>
          <a:off x="7358909" y="5543019"/>
          <a:ext cx="4558560" cy="874166"/>
        </p:xfrm>
        <a:graphic>
          <a:graphicData uri="http://schemas.openxmlformats.org/drawingml/2006/table">
            <a:tbl>
              <a:tblPr/>
              <a:tblGrid>
                <a:gridCol w="759760">
                  <a:extLst>
                    <a:ext uri="{9D8B030D-6E8A-4147-A177-3AD203B41FA5}">
                      <a16:colId xmlns:a16="http://schemas.microsoft.com/office/drawing/2014/main" val="431450114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293986261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870908832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418553957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3813615049"/>
                    </a:ext>
                  </a:extLst>
                </a:gridCol>
                <a:gridCol w="759760">
                  <a:extLst>
                    <a:ext uri="{9D8B030D-6E8A-4147-A177-3AD203B41FA5}">
                      <a16:colId xmlns:a16="http://schemas.microsoft.com/office/drawing/2014/main" val="19506064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213456"/>
                  </a:ext>
                </a:extLst>
              </a:tr>
              <a:tr h="43708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D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87621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1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2 (5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 (6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4 (6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 (5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 (2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1/2020 </a:t>
            </a:r>
          </a:p>
        </p:txBody>
      </p:sp>
    </p:spTree>
    <p:extLst>
      <p:ext uri="{BB962C8B-B14F-4D97-AF65-F5344CB8AC3E}">
        <p14:creationId xmlns:p14="http://schemas.microsoft.com/office/powerpoint/2010/main" val="21189415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82761B6C-BAB4-4CB7-9972-A9ACAC518D35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240915617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472712141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2135892105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56152929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5654203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38040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9490204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2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 (3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2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2 (1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2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2/2020</a:t>
            </a:r>
          </a:p>
        </p:txBody>
      </p:sp>
    </p:spTree>
    <p:extLst>
      <p:ext uri="{BB962C8B-B14F-4D97-AF65-F5344CB8AC3E}">
        <p14:creationId xmlns:p14="http://schemas.microsoft.com/office/powerpoint/2010/main" val="39436122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7074580-7378-4DC7-905D-4C6D0765102E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85530437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11719903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095470282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4514466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75394469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9673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0950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 (2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9 (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 (2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5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1/2021</a:t>
            </a:r>
          </a:p>
        </p:txBody>
      </p:sp>
      <p:sp>
        <p:nvSpPr>
          <p:cNvPr id="20" name="TextovéPole 9">
            <a:extLst>
              <a:ext uri="{FF2B5EF4-FFF2-40B4-BE49-F238E27FC236}">
                <a16:creationId xmlns:a16="http://schemas.microsoft.com/office/drawing/2014/main" id="{7E384A36-F04C-4CFB-AE35-7DB6EC2667C7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8669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C8940F4-E367-4975-9E2F-DC4BD5527F99}"/>
              </a:ext>
            </a:extLst>
          </p:cNvPr>
          <p:cNvGraphicFramePr>
            <a:graphicFrameLocks noGrp="1"/>
          </p:cNvGraphicFramePr>
          <p:nvPr/>
        </p:nvGraphicFramePr>
        <p:xfrm>
          <a:off x="7355846" y="5556199"/>
          <a:ext cx="4561624" cy="853440"/>
        </p:xfrm>
        <a:graphic>
          <a:graphicData uri="http://schemas.openxmlformats.org/drawingml/2006/table">
            <a:tbl>
              <a:tblPr/>
              <a:tblGrid>
                <a:gridCol w="1140406">
                  <a:extLst>
                    <a:ext uri="{9D8B030D-6E8A-4147-A177-3AD203B41FA5}">
                      <a16:colId xmlns:a16="http://schemas.microsoft.com/office/drawing/2014/main" val="1626908255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993666441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582674586"/>
                    </a:ext>
                  </a:extLst>
                </a:gridCol>
                <a:gridCol w="1140406">
                  <a:extLst>
                    <a:ext uri="{9D8B030D-6E8A-4147-A177-3AD203B41FA5}">
                      <a16:colId xmlns:a16="http://schemas.microsoft.com/office/drawing/2014/main" val="186028161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8709309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493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241769" y="1111953"/>
          <a:ext cx="5595008" cy="5305234"/>
        </p:xfrm>
        <a:graphic>
          <a:graphicData uri="http://schemas.openxmlformats.org/drawingml/2006/table">
            <a:tbl>
              <a:tblPr/>
              <a:tblGrid>
                <a:gridCol w="1951652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910839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2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(2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0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6 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2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BDF07863-E626-446B-8502-11E8F41822DD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98349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C356167-F022-472E-9A90-09B706895E01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257412583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148750124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506814479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9752218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12628845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42833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1719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3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3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3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619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CC44A54-A727-4A27-AAD6-9EDB9E74857F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56199"/>
          <a:ext cx="4564170" cy="853440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51757496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4045578820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606493004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507872686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243882254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6986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242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3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4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4/2021</a:t>
            </a:r>
          </a:p>
        </p:txBody>
      </p:sp>
      <p:sp>
        <p:nvSpPr>
          <p:cNvPr id="11" name="TextovéPole 9">
            <a:extLst>
              <a:ext uri="{FF2B5EF4-FFF2-40B4-BE49-F238E27FC236}">
                <a16:creationId xmlns:a16="http://schemas.microsoft.com/office/drawing/2014/main" id="{1DF2C9EC-1343-455F-B625-1BA8F6D4F4A8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879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DBFAEF02-39D0-40BD-A8AF-48F84CD1AFC9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53440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1628781168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50112385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4130467436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686574967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6641087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3825222212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8824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606459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1</a:t>
            </a:r>
          </a:p>
        </p:txBody>
      </p:sp>
    </p:spTree>
    <p:extLst>
      <p:ext uri="{BB962C8B-B14F-4D97-AF65-F5344CB8AC3E}">
        <p14:creationId xmlns:p14="http://schemas.microsoft.com/office/powerpoint/2010/main" val="7121080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C47735-3001-43A6-B955-E419A3EC1853}"/>
              </a:ext>
            </a:extLst>
          </p:cNvPr>
          <p:cNvGraphicFramePr>
            <a:graphicFrameLocks noGrp="1"/>
          </p:cNvGraphicFramePr>
          <p:nvPr/>
        </p:nvGraphicFramePr>
        <p:xfrm>
          <a:off x="7357964" y="5556199"/>
          <a:ext cx="4559505" cy="853440"/>
        </p:xfrm>
        <a:graphic>
          <a:graphicData uri="http://schemas.openxmlformats.org/drawingml/2006/table">
            <a:tbl>
              <a:tblPr/>
              <a:tblGrid>
                <a:gridCol w="911901">
                  <a:extLst>
                    <a:ext uri="{9D8B030D-6E8A-4147-A177-3AD203B41FA5}">
                      <a16:colId xmlns:a16="http://schemas.microsoft.com/office/drawing/2014/main" val="1486795782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22571971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346167304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2249125035"/>
                    </a:ext>
                  </a:extLst>
                </a:gridCol>
                <a:gridCol w="911901">
                  <a:extLst>
                    <a:ext uri="{9D8B030D-6E8A-4147-A177-3AD203B41FA5}">
                      <a16:colId xmlns:a16="http://schemas.microsoft.com/office/drawing/2014/main" val="3840746938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041646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949039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5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6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347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7ED1146-C9C8-494A-B83A-6D1444C47513}"/>
              </a:ext>
            </a:extLst>
          </p:cNvPr>
          <p:cNvGraphicFramePr>
            <a:graphicFrameLocks noGrp="1"/>
          </p:cNvGraphicFramePr>
          <p:nvPr/>
        </p:nvGraphicFramePr>
        <p:xfrm>
          <a:off x="7362826" y="5543020"/>
          <a:ext cx="4554640" cy="866620"/>
        </p:xfrm>
        <a:graphic>
          <a:graphicData uri="http://schemas.openxmlformats.org/drawingml/2006/table">
            <a:tbl>
              <a:tblPr/>
              <a:tblGrid>
                <a:gridCol w="910928">
                  <a:extLst>
                    <a:ext uri="{9D8B030D-6E8A-4147-A177-3AD203B41FA5}">
                      <a16:colId xmlns:a16="http://schemas.microsoft.com/office/drawing/2014/main" val="1215948292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747667204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344201301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3217620225"/>
                    </a:ext>
                  </a:extLst>
                </a:gridCol>
                <a:gridCol w="910928">
                  <a:extLst>
                    <a:ext uri="{9D8B030D-6E8A-4147-A177-3AD203B41FA5}">
                      <a16:colId xmlns:a16="http://schemas.microsoft.com/office/drawing/2014/main" val="485669683"/>
                    </a:ext>
                  </a:extLst>
                </a:gridCol>
              </a:tblGrid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635236"/>
                  </a:ext>
                </a:extLst>
              </a:tr>
              <a:tr h="43331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535690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6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0" name="Obdélník 13">
            <a:extLst>
              <a:ext uri="{FF2B5EF4-FFF2-40B4-BE49-F238E27FC236}">
                <a16:creationId xmlns:a16="http://schemas.microsoft.com/office/drawing/2014/main" id="{CACC6C0E-E9BA-434A-9ED0-8F18C1606C4A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7/2021</a:t>
            </a: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E098226-558B-4478-A6B1-DD8F943D86E2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437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3571CEA2-50DD-4BE2-9E04-FA082CFB86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302673"/>
              </p:ext>
            </p:extLst>
          </p:nvPr>
        </p:nvGraphicFramePr>
        <p:xfrm>
          <a:off x="1003516" y="5723959"/>
          <a:ext cx="10940811" cy="731520"/>
        </p:xfrm>
        <a:graphic>
          <a:graphicData uri="http://schemas.openxmlformats.org/drawingml/2006/table">
            <a:tbl>
              <a:tblPr/>
              <a:tblGrid>
                <a:gridCol w="131817">
                  <a:extLst>
                    <a:ext uri="{9D8B030D-6E8A-4147-A177-3AD203B41FA5}">
                      <a16:colId xmlns:a16="http://schemas.microsoft.com/office/drawing/2014/main" val="1518632640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26484312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500006196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36020030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673803052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29247458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7390781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851800549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80250329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41171629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04584243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91562332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01702930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04581493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79463801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21550866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17511154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442196512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792888412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316584942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50803960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73353723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50531799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89705635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668638839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13867223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72359776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55761200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31106270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9390481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52469541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71683496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09962035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03456485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97701917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468872263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17725409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77905575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41685146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178176010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86742350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99220020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43181740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176985139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679216743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661615453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964636039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8912911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80169925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00529466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965818956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93820957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42313412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282377799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57923663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9234620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763770792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551014713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97973292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13410247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203844241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114006442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46125259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994120900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01223315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699170683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75969358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00064466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05651824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92874564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100067056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1820566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1725667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2441646920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052545216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653732757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73949243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468356033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4261026239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450933818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612138565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147954839"/>
                    </a:ext>
                  </a:extLst>
                </a:gridCol>
                <a:gridCol w="131817">
                  <a:extLst>
                    <a:ext uri="{9D8B030D-6E8A-4147-A177-3AD203B41FA5}">
                      <a16:colId xmlns:a16="http://schemas.microsoft.com/office/drawing/2014/main" val="382571780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5788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D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F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A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8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E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1A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8A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4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C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3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4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9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2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9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E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6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1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6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1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1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4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9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6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F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0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6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2</a:t>
                      </a:r>
                    </a:p>
                  </a:txBody>
                  <a:tcPr marL="1980" marR="1980" marT="198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6117586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8724296"/>
              </p:ext>
            </p:extLst>
          </p:nvPr>
        </p:nvGraphicFramePr>
        <p:xfrm>
          <a:off x="485775" y="895349"/>
          <a:ext cx="11608237" cy="482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90905" y="5727649"/>
          <a:ext cx="11853445" cy="73152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7025837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9" name="TextovéPole 9">
            <a:extLst>
              <a:ext uri="{FF2B5EF4-FFF2-40B4-BE49-F238E27FC236}">
                <a16:creationId xmlns:a16="http://schemas.microsoft.com/office/drawing/2014/main" id="{6C2CDEC2-B893-491C-BB5B-D4EEE3DC82DC}"/>
              </a:ext>
            </a:extLst>
          </p:cNvPr>
          <p:cNvSpPr txBox="1"/>
          <p:nvPr/>
        </p:nvSpPr>
        <p:spPr>
          <a:xfrm>
            <a:off x="8274425" y="6516527"/>
            <a:ext cx="381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11. 2021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8703A411-2351-4013-83CF-0C13C30C07DA}"/>
              </a:ext>
            </a:extLst>
          </p:cNvPr>
          <p:cNvSpPr/>
          <p:nvPr/>
        </p:nvSpPr>
        <p:spPr>
          <a:xfrm>
            <a:off x="11744132" y="5984104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3E6CB076-A534-407B-818A-8C31DD33640D}"/>
              </a:ext>
            </a:extLst>
          </p:cNvPr>
          <p:cNvSpPr/>
          <p:nvPr/>
        </p:nvSpPr>
        <p:spPr>
          <a:xfrm>
            <a:off x="10549790" y="3393200"/>
            <a:ext cx="13676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200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4131364E-553B-4C2F-8466-03694FBBBF95}"/>
              </a:ext>
            </a:extLst>
          </p:cNvPr>
          <p:cNvSpPr/>
          <p:nvPr/>
        </p:nvSpPr>
        <p:spPr>
          <a:xfrm>
            <a:off x="11748567" y="4167280"/>
            <a:ext cx="2616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11872228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6A6BDA19-CED9-4AD8-A8D3-38CA86903F22}"/>
              </a:ext>
            </a:extLst>
          </p:cNvPr>
          <p:cNvGraphicFramePr>
            <a:graphicFrameLocks noGrp="1"/>
          </p:cNvGraphicFramePr>
          <p:nvPr/>
        </p:nvGraphicFramePr>
        <p:xfrm>
          <a:off x="7349384" y="5556199"/>
          <a:ext cx="4568082" cy="860988"/>
        </p:xfrm>
        <a:graphic>
          <a:graphicData uri="http://schemas.openxmlformats.org/drawingml/2006/table">
            <a:tbl>
              <a:tblPr/>
              <a:tblGrid>
                <a:gridCol w="761347">
                  <a:extLst>
                    <a:ext uri="{9D8B030D-6E8A-4147-A177-3AD203B41FA5}">
                      <a16:colId xmlns:a16="http://schemas.microsoft.com/office/drawing/2014/main" val="2801235750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2134165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38704475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7626496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542629434"/>
                    </a:ext>
                  </a:extLst>
                </a:gridCol>
                <a:gridCol w="761347">
                  <a:extLst>
                    <a:ext uri="{9D8B030D-6E8A-4147-A177-3AD203B41FA5}">
                      <a16:colId xmlns:a16="http://schemas.microsoft.com/office/drawing/2014/main" val="1107797777"/>
                    </a:ext>
                  </a:extLst>
                </a:gridCol>
              </a:tblGrid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469714"/>
                  </a:ext>
                </a:extLst>
              </a:tr>
              <a:tr h="4304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3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957848"/>
                  </a:ext>
                </a:extLst>
              </a:tr>
            </a:tbl>
          </a:graphicData>
        </a:graphic>
      </p:graphicFrame>
      <p:graphicFrame>
        <p:nvGraphicFramePr>
          <p:cNvPr id="14" name="Tabulka 10">
            <a:extLst>
              <a:ext uri="{FF2B5EF4-FFF2-40B4-BE49-F238E27FC236}">
                <a16:creationId xmlns:a16="http://schemas.microsoft.com/office/drawing/2014/main" id="{0B805C57-49DD-47EE-A9B2-A7F47A95BF38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151777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  <a:gridCol w="721206">
                  <a:extLst>
                    <a:ext uri="{9D8B030D-6E8A-4147-A177-3AD203B41FA5}">
                      <a16:colId xmlns:a16="http://schemas.microsoft.com/office/drawing/2014/main" val="3650229900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7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8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Graf 12">
            <a:extLst>
              <a:ext uri="{FF2B5EF4-FFF2-40B4-BE49-F238E27FC236}">
                <a16:creationId xmlns:a16="http://schemas.microsoft.com/office/drawing/2014/main" id="{1272FB39-B69A-4209-8A6D-5FA328217601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18" name="Tabulka 14">
            <a:extLst>
              <a:ext uri="{FF2B5EF4-FFF2-40B4-BE49-F238E27FC236}">
                <a16:creationId xmlns:a16="http://schemas.microsoft.com/office/drawing/2014/main" id="{29F2181F-FF52-4DC8-8328-8CC0C56269EF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8/2021</a:t>
            </a:r>
          </a:p>
        </p:txBody>
      </p:sp>
    </p:spTree>
    <p:extLst>
      <p:ext uri="{BB962C8B-B14F-4D97-AF65-F5344CB8AC3E}">
        <p14:creationId xmlns:p14="http://schemas.microsoft.com/office/powerpoint/2010/main" val="208460716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6897C-047E-47E5-B3A3-E78E699656D0}"/>
              </a:ext>
            </a:extLst>
          </p:cNvPr>
          <p:cNvGraphicFramePr>
            <a:graphicFrameLocks noGrp="1"/>
          </p:cNvGraphicFramePr>
          <p:nvPr/>
        </p:nvGraphicFramePr>
        <p:xfrm>
          <a:off x="7353300" y="5543019"/>
          <a:ext cx="4564170" cy="874168"/>
        </p:xfrm>
        <a:graphic>
          <a:graphicData uri="http://schemas.openxmlformats.org/drawingml/2006/table">
            <a:tbl>
              <a:tblPr/>
              <a:tblGrid>
                <a:gridCol w="912834">
                  <a:extLst>
                    <a:ext uri="{9D8B030D-6E8A-4147-A177-3AD203B41FA5}">
                      <a16:colId xmlns:a16="http://schemas.microsoft.com/office/drawing/2014/main" val="358418510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346526545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768973588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216236221"/>
                    </a:ext>
                  </a:extLst>
                </a:gridCol>
                <a:gridCol w="912834">
                  <a:extLst>
                    <a:ext uri="{9D8B030D-6E8A-4147-A177-3AD203B41FA5}">
                      <a16:colId xmlns:a16="http://schemas.microsoft.com/office/drawing/2014/main" val="3809614840"/>
                    </a:ext>
                  </a:extLst>
                </a:gridCol>
              </a:tblGrid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491470"/>
                  </a:ext>
                </a:extLst>
              </a:tr>
              <a:tr h="43708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0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683163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546471" y="6516527"/>
            <a:ext cx="35475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9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8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4091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097DF6F9-92B9-4B5C-B85D-45943BE0675A}"/>
              </a:ext>
            </a:extLst>
          </p:cNvPr>
          <p:cNvGraphicFramePr>
            <a:graphicFrameLocks noGrp="1"/>
          </p:cNvGraphicFramePr>
          <p:nvPr/>
        </p:nvGraphicFramePr>
        <p:xfrm>
          <a:off x="7362824" y="5543020"/>
          <a:ext cx="4554645" cy="853440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1806705292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48777716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2688169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684044954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259273976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73236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5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390600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</a:t>
            </a: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10/2021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/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9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10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/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240492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2AB13A10-42CC-45CD-AF75-2B0928B760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918966"/>
              </p:ext>
            </p:extLst>
          </p:nvPr>
        </p:nvGraphicFramePr>
        <p:xfrm>
          <a:off x="8703900" y="901702"/>
          <a:ext cx="859199" cy="5614806"/>
        </p:xfrm>
        <a:graphic>
          <a:graphicData uri="http://schemas.openxmlformats.org/drawingml/2006/table">
            <a:tbl>
              <a:tblPr/>
              <a:tblGrid>
                <a:gridCol w="859199">
                  <a:extLst>
                    <a:ext uri="{9D8B030D-6E8A-4147-A177-3AD203B41FA5}">
                      <a16:colId xmlns:a16="http://schemas.microsoft.com/office/drawing/2014/main" val="2062361744"/>
                    </a:ext>
                  </a:extLst>
                </a:gridCol>
              </a:tblGrid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108672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009690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744660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B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07899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86566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32290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85240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82966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24789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33334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75061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209085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455054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613218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37953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58280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811966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97983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144867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00988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200651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0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329363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199118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180195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1111649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2256026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083738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880872"/>
                  </a:ext>
                </a:extLst>
              </a:tr>
              <a:tr h="193614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103588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října 2020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0560C9FB-2949-4B26-B792-61AF25EF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0108382"/>
              </p:ext>
            </p:extLst>
          </p:nvPr>
        </p:nvGraphicFramePr>
        <p:xfrm>
          <a:off x="1093233" y="681680"/>
          <a:ext cx="8958646" cy="5834840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22412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2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 8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8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8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04550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7188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973795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859658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6092428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54906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32421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868367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25124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ájmové aktivit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2704925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026929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0412420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361213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699426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191631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63673"/>
                  </a:ext>
                </a:extLst>
              </a:tr>
              <a:tr h="193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tace / import / významná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52779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FADD983A-CF14-48D1-8A68-6107B488D7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426730"/>
              </p:ext>
            </p:extLst>
          </p:nvPr>
        </p:nvGraphicFramePr>
        <p:xfrm>
          <a:off x="8638176" y="1092199"/>
          <a:ext cx="982073" cy="5424328"/>
        </p:xfrm>
        <a:graphic>
          <a:graphicData uri="http://schemas.openxmlformats.org/drawingml/2006/table">
            <a:tbl>
              <a:tblPr/>
              <a:tblGrid>
                <a:gridCol w="982073">
                  <a:extLst>
                    <a:ext uri="{9D8B030D-6E8A-4147-A177-3AD203B41FA5}">
                      <a16:colId xmlns:a16="http://schemas.microsoft.com/office/drawing/2014/main" val="3208375368"/>
                    </a:ext>
                  </a:extLst>
                </a:gridCol>
              </a:tblGrid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20520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8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33705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7867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67854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D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09351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C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4422014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37712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058451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91799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793572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90446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61877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75543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82547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515289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58728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F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00315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356217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0541810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06032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6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323145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21355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2715226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547016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64231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6366069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968063"/>
                  </a:ext>
                </a:extLst>
              </a:tr>
              <a:tr h="193726">
                <a:tc>
                  <a:txBody>
                    <a:bodyPr/>
                    <a:lstStyle/>
                    <a:p>
                      <a:pPr algn="ctr" fontAlgn="ctr"/>
                      <a:endParaRPr lang="cs-CZ" sz="9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70" marR="7770" marT="777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524734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Události řešené od 1. ledna 2021 – celá ČR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BDD20AF-BD82-42FA-8ABC-E95927D22E06}"/>
              </a:ext>
            </a:extLst>
          </p:cNvPr>
          <p:cNvSpPr txBox="1"/>
          <p:nvPr/>
        </p:nvSpPr>
        <p:spPr>
          <a:xfrm>
            <a:off x="1885951" y="6516527"/>
            <a:ext cx="6372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68AE7B0F-05ED-4C12-89D3-29AC69571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7314155"/>
              </p:ext>
            </p:extLst>
          </p:nvPr>
        </p:nvGraphicFramePr>
        <p:xfrm>
          <a:off x="1104900" y="660914"/>
          <a:ext cx="8958646" cy="5860965"/>
        </p:xfrm>
        <a:graphic>
          <a:graphicData uri="http://schemas.openxmlformats.org/drawingml/2006/table">
            <a:tbl>
              <a:tblPr/>
              <a:tblGrid>
                <a:gridCol w="3399790">
                  <a:extLst>
                    <a:ext uri="{9D8B030D-6E8A-4147-A177-3AD203B41FA5}">
                      <a16:colId xmlns:a16="http://schemas.microsoft.com/office/drawing/2014/main" val="203849754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582286152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33981781"/>
                    </a:ext>
                  </a:extLst>
                </a:gridCol>
                <a:gridCol w="1852952">
                  <a:extLst>
                    <a:ext uri="{9D8B030D-6E8A-4147-A177-3AD203B41FA5}">
                      <a16:colId xmlns:a16="http://schemas.microsoft.com/office/drawing/2014/main" val="1571505390"/>
                    </a:ext>
                  </a:extLst>
                </a:gridCol>
              </a:tblGrid>
              <a:tr h="43088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 událost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kažených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událostí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ktuálně řešené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93877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676 (11 82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58 (1 18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73672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s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670 (9 16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3 (99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3173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řízení sociálních služ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 182 (66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14 (4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1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28721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ýrobní záv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38 (30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(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0041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3 (1 25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 (5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51088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ězni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29 (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53752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oviště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53 (14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(1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71448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é domovy/ústavy pro mladistvé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6 (5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117333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yt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(3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(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30775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tský tábo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(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4706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ý a profesionální spor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(5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(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97779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celář, úř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 (1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643755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nictv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99736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ejna, 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688325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lečenská akce / klu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8144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dinný výsky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4915642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čanská komunita/obe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4883858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Z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570336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kání známých / příbuzný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8371184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a profesionální umělecké sbo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2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0766749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ované společenské/rekreační/vzdělávací akc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(2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91215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e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1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817810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atba / pohř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144375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i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5281701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írke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721677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vovac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318133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tace / import / významná událo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1448"/>
                  </a:ext>
                </a:extLst>
              </a:tr>
              <a:tr h="1937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506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6199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1B09609A-3747-49E9-8A42-844BFDA137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219984"/>
              </p:ext>
            </p:extLst>
          </p:nvPr>
        </p:nvGraphicFramePr>
        <p:xfrm>
          <a:off x="7429499" y="5737702"/>
          <a:ext cx="4564864" cy="731520"/>
        </p:xfrm>
        <a:graphic>
          <a:graphicData uri="http://schemas.openxmlformats.org/drawingml/2006/table">
            <a:tbl>
              <a:tblPr/>
              <a:tblGrid>
                <a:gridCol w="240256">
                  <a:extLst>
                    <a:ext uri="{9D8B030D-6E8A-4147-A177-3AD203B41FA5}">
                      <a16:colId xmlns:a16="http://schemas.microsoft.com/office/drawing/2014/main" val="3733459267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43013628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45727487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69433939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62200235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343899542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1133283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500003145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80751538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697587015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51382433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625741270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89463732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4096654400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381046940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69092033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700525930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528175273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605798456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8648" marR="8648" marT="864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4998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B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2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7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2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9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9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AE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6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D5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8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9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155057"/>
                  </a:ext>
                </a:extLst>
              </a:tr>
            </a:tbl>
          </a:graphicData>
        </a:graphic>
      </p:graphicFrame>
      <p:sp>
        <p:nvSpPr>
          <p:cNvPr id="13" name="TextovéPole 9">
            <a:extLst>
              <a:ext uri="{FF2B5EF4-FFF2-40B4-BE49-F238E27FC236}">
                <a16:creationId xmlns:a16="http://schemas.microsoft.com/office/drawing/2014/main" id="{6A22C561-33A4-44DE-8060-C4F3B9EB1921}"/>
              </a:ext>
            </a:extLst>
          </p:cNvPr>
          <p:cNvSpPr txBox="1"/>
          <p:nvPr/>
        </p:nvSpPr>
        <p:spPr>
          <a:xfrm>
            <a:off x="8343901" y="6516527"/>
            <a:ext cx="3750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4" name="Obdélník 11">
            <a:extLst>
              <a:ext uri="{FF2B5EF4-FFF2-40B4-BE49-F238E27FC236}">
                <a16:creationId xmlns:a16="http://schemas.microsoft.com/office/drawing/2014/main" id="{38C2AC7A-9C23-4CCF-B20F-266DA9F7115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0905" y="6522363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graphicFrame>
        <p:nvGraphicFramePr>
          <p:cNvPr id="16" name="Tabulka 14">
            <a:extLst>
              <a:ext uri="{FF2B5EF4-FFF2-40B4-BE49-F238E27FC236}">
                <a16:creationId xmlns:a16="http://schemas.microsoft.com/office/drawing/2014/main" id="{50CA38BC-195A-4265-A337-74D0D69A5132}"/>
              </a:ext>
            </a:extLst>
          </p:cNvPr>
          <p:cNvGraphicFramePr>
            <a:graphicFrameLocks noGrp="1"/>
          </p:cNvGraphicFramePr>
          <p:nvPr/>
        </p:nvGraphicFramePr>
        <p:xfrm>
          <a:off x="6600825" y="1314771"/>
          <a:ext cx="5393547" cy="365760"/>
        </p:xfrm>
        <a:graphic>
          <a:graphicData uri="http://schemas.openxmlformats.org/drawingml/2006/table">
            <a:tbl>
              <a:tblPr/>
              <a:tblGrid>
                <a:gridCol w="77918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9195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332878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 denně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graphicFrame>
        <p:nvGraphicFramePr>
          <p:cNvPr id="19" name="Graf 12">
            <a:extLst>
              <a:ext uri="{FF2B5EF4-FFF2-40B4-BE49-F238E27FC236}">
                <a16:creationId xmlns:a16="http://schemas.microsoft.com/office/drawing/2014/main" id="{72589205-FA3E-4546-869C-5462A9B69E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7953330"/>
              </p:ext>
            </p:extLst>
          </p:nvPr>
        </p:nvGraphicFramePr>
        <p:xfrm>
          <a:off x="6895909" y="1703559"/>
          <a:ext cx="5215710" cy="3959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Obdélník 13">
            <a:extLst>
              <a:ext uri="{FF2B5EF4-FFF2-40B4-BE49-F238E27FC236}">
                <a16:creationId xmlns:a16="http://schemas.microsoft.com/office/drawing/2014/main" id="{0CBAB1B0-E713-42C3-B005-9F720593CBF2}"/>
              </a:ext>
            </a:extLst>
          </p:cNvPr>
          <p:cNvSpPr/>
          <p:nvPr/>
        </p:nvSpPr>
        <p:spPr>
          <a:xfrm>
            <a:off x="6986345" y="955453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zařazených osob</a:t>
            </a:r>
          </a:p>
        </p:txBody>
      </p:sp>
      <p:graphicFrame>
        <p:nvGraphicFramePr>
          <p:cNvPr id="25" name="Tabulka 14">
            <a:extLst>
              <a:ext uri="{FF2B5EF4-FFF2-40B4-BE49-F238E27FC236}">
                <a16:creationId xmlns:a16="http://schemas.microsoft.com/office/drawing/2014/main" id="{E3F2A5EE-FD0D-4E26-AEC0-D9CFDEEC1E60}"/>
              </a:ext>
            </a:extLst>
          </p:cNvPr>
          <p:cNvGraphicFramePr>
            <a:graphicFrameLocks noGrp="1"/>
          </p:cNvGraphicFramePr>
          <p:nvPr/>
        </p:nvGraphicFramePr>
        <p:xfrm>
          <a:off x="6686550" y="5737704"/>
          <a:ext cx="5307832" cy="731520"/>
        </p:xfrm>
        <a:graphic>
          <a:graphicData uri="http://schemas.openxmlformats.org/drawingml/2006/table">
            <a:tbl>
              <a:tblPr/>
              <a:tblGrid>
                <a:gridCol w="751112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2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26" name="Obdélník 13">
            <a:extLst>
              <a:ext uri="{FF2B5EF4-FFF2-40B4-BE49-F238E27FC236}">
                <a16:creationId xmlns:a16="http://schemas.microsoft.com/office/drawing/2014/main" id="{0ABA3511-66CD-4489-AF5A-F87C351FF89D}"/>
              </a:ext>
            </a:extLst>
          </p:cNvPr>
          <p:cNvSpPr/>
          <p:nvPr/>
        </p:nvSpPr>
        <p:spPr>
          <a:xfrm>
            <a:off x="190492" y="571917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za 05/2020 – 11/2021 k 26. 11.</a:t>
            </a: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7A17A29C-4F23-47B3-905B-F8299A2B9E6E}"/>
              </a:ext>
            </a:extLst>
          </p:cNvPr>
          <p:cNvSpPr/>
          <p:nvPr/>
        </p:nvSpPr>
        <p:spPr>
          <a:xfrm>
            <a:off x="11515622" y="5505680"/>
            <a:ext cx="62709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 26. 11.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Tabulka 10">
            <a:extLst>
              <a:ext uri="{FF2B5EF4-FFF2-40B4-BE49-F238E27FC236}">
                <a16:creationId xmlns:a16="http://schemas.microsoft.com/office/drawing/2014/main" id="{0EE03235-90B5-4828-A095-CA13F7204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708773"/>
              </p:ext>
            </p:extLst>
          </p:nvPr>
        </p:nvGraphicFramePr>
        <p:xfrm>
          <a:off x="47625" y="989354"/>
          <a:ext cx="6437723" cy="5411447"/>
        </p:xfrm>
        <a:graphic>
          <a:graphicData uri="http://schemas.openxmlformats.org/drawingml/2006/table">
            <a:tbl>
              <a:tblPr/>
              <a:tblGrid>
                <a:gridCol w="63597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675377350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722521615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368621166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832739057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571506889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1159134526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805932271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944690473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650913940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274616259"/>
                    </a:ext>
                  </a:extLst>
                </a:gridCol>
                <a:gridCol w="527432">
                  <a:extLst>
                    <a:ext uri="{9D8B030D-6E8A-4147-A177-3AD203B41FA5}">
                      <a16:colId xmlns:a16="http://schemas.microsoft.com/office/drawing/2014/main" val="4084179970"/>
                    </a:ext>
                  </a:extLst>
                </a:gridCol>
              </a:tblGrid>
              <a:tr h="664991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</a:t>
                      </a:r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očet clusterů)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 2021 </a:t>
                      </a:r>
                    </a:p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 26. 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 (2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(1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 (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34239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M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(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845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 (1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34546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0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  <a:b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</a:t>
                      </a:r>
                      <a:b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6E08D775-69DD-4BED-8210-D91BF29A34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984186"/>
              </p:ext>
            </p:extLst>
          </p:nvPr>
        </p:nvGraphicFramePr>
        <p:xfrm>
          <a:off x="7429500" y="1157155"/>
          <a:ext cx="4564864" cy="547160"/>
        </p:xfrm>
        <a:graphic>
          <a:graphicData uri="http://schemas.openxmlformats.org/drawingml/2006/table">
            <a:tbl>
              <a:tblPr/>
              <a:tblGrid>
                <a:gridCol w="240256">
                  <a:extLst>
                    <a:ext uri="{9D8B030D-6E8A-4147-A177-3AD203B41FA5}">
                      <a16:colId xmlns:a16="http://schemas.microsoft.com/office/drawing/2014/main" val="175491907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584671327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14252746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270759653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42893827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259463266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96561330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058912895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7518601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582819858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297279397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38608134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339127953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872623294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042111015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574694402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1272686147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3276971401"/>
                    </a:ext>
                  </a:extLst>
                </a:gridCol>
                <a:gridCol w="240256">
                  <a:extLst>
                    <a:ext uri="{9D8B030D-6E8A-4147-A177-3AD203B41FA5}">
                      <a16:colId xmlns:a16="http://schemas.microsoft.com/office/drawing/2014/main" val="2991988283"/>
                    </a:ext>
                  </a:extLst>
                </a:gridCol>
              </a:tblGrid>
              <a:tr h="138791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48" marR="8648" marT="864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3731"/>
                  </a:ext>
                </a:extLst>
              </a:tr>
              <a:tr h="38611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9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B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,4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0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B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CA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B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6</a:t>
                      </a:r>
                    </a:p>
                  </a:txBody>
                  <a:tcPr marL="8648" marR="8648" marT="8648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F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6227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0688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E5E4CD0F-D87D-4A32-BD6F-C4B76C6804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479759"/>
              </p:ext>
            </p:extLst>
          </p:nvPr>
        </p:nvGraphicFramePr>
        <p:xfrm>
          <a:off x="7362825" y="5556197"/>
          <a:ext cx="4554645" cy="853438"/>
        </p:xfrm>
        <a:graphic>
          <a:graphicData uri="http://schemas.openxmlformats.org/drawingml/2006/table">
            <a:tbl>
              <a:tblPr/>
              <a:tblGrid>
                <a:gridCol w="910929">
                  <a:extLst>
                    <a:ext uri="{9D8B030D-6E8A-4147-A177-3AD203B41FA5}">
                      <a16:colId xmlns:a16="http://schemas.microsoft.com/office/drawing/2014/main" val="383577243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679948140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145247277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882205598"/>
                    </a:ext>
                  </a:extLst>
                </a:gridCol>
                <a:gridCol w="910929">
                  <a:extLst>
                    <a:ext uri="{9D8B030D-6E8A-4147-A177-3AD203B41FA5}">
                      <a16:colId xmlns:a16="http://schemas.microsoft.com/office/drawing/2014/main" val="3871605847"/>
                    </a:ext>
                  </a:extLst>
                </a:gridCol>
              </a:tblGrid>
              <a:tr h="4267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0326144"/>
                  </a:ext>
                </a:extLst>
              </a:tr>
              <a:tr h="4267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DE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9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A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E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0217430"/>
                  </a:ext>
                </a:extLst>
              </a:tr>
            </a:tbl>
          </a:graphicData>
        </a:graphic>
      </p:graphicFrame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12" name="TextovéPole 9">
            <a:extLst>
              <a:ext uri="{FF2B5EF4-FFF2-40B4-BE49-F238E27FC236}">
                <a16:creationId xmlns:a16="http://schemas.microsoft.com/office/drawing/2014/main" id="{9910970A-6134-46AA-A364-9A0ADC5200D4}"/>
              </a:ext>
            </a:extLst>
          </p:cNvPr>
          <p:cNvSpPr txBox="1"/>
          <p:nvPr/>
        </p:nvSpPr>
        <p:spPr>
          <a:xfrm>
            <a:off x="8256495" y="6516527"/>
            <a:ext cx="3837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Zdroj: </a:t>
            </a:r>
            <a:r>
              <a:rPr lang="cs-CZ" sz="1200" dirty="0" err="1"/>
              <a:t>Covid</a:t>
            </a:r>
            <a:r>
              <a:rPr lang="cs-CZ" sz="1200" dirty="0"/>
              <a:t> </a:t>
            </a:r>
            <a:r>
              <a:rPr lang="cs-CZ" sz="1200" dirty="0" err="1"/>
              <a:t>Forms</a:t>
            </a:r>
            <a:r>
              <a:rPr lang="cs-CZ" sz="1200" dirty="0"/>
              <a:t> – Události, </a:t>
            </a:r>
            <a:r>
              <a:rPr lang="cs-CZ" sz="1200" b="1" dirty="0">
                <a:solidFill>
                  <a:srgbClr val="C00000"/>
                </a:solidFill>
              </a:rPr>
              <a:t>stav k 26. 11. 2021</a:t>
            </a:r>
          </a:p>
        </p:txBody>
      </p:sp>
      <p:sp>
        <p:nvSpPr>
          <p:cNvPr id="19" name="Obdélník 13">
            <a:extLst>
              <a:ext uri="{FF2B5EF4-FFF2-40B4-BE49-F238E27FC236}">
                <a16:creationId xmlns:a16="http://schemas.microsoft.com/office/drawing/2014/main" id="{137FC5AF-3D58-42B1-95A2-2E248AB0A1A8}"/>
              </a:ext>
            </a:extLst>
          </p:cNvPr>
          <p:cNvSpPr/>
          <p:nvPr/>
        </p:nvSpPr>
        <p:spPr>
          <a:xfrm>
            <a:off x="190492" y="600492"/>
            <a:ext cx="11726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sz="2000" b="1" dirty="0">
                <a:solidFill>
                  <a:srgbClr val="C00000"/>
                </a:solidFill>
                <a:latin typeface="Calibri" panose="020F0502020204030204" pitchFamily="34" charset="0"/>
              </a:rPr>
              <a:t>Přehled za 11/2021 k 26. 11.</a:t>
            </a:r>
          </a:p>
        </p:txBody>
      </p:sp>
      <p:graphicFrame>
        <p:nvGraphicFramePr>
          <p:cNvPr id="13" name="Tabulka 10">
            <a:extLst>
              <a:ext uri="{FF2B5EF4-FFF2-40B4-BE49-F238E27FC236}">
                <a16:creationId xmlns:a16="http://schemas.microsoft.com/office/drawing/2014/main" id="{6A4A82EA-5F54-4BD2-BE9A-FF154B022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888822"/>
              </p:ext>
            </p:extLst>
          </p:nvPr>
        </p:nvGraphicFramePr>
        <p:xfrm>
          <a:off x="190493" y="1111953"/>
          <a:ext cx="6082121" cy="5305234"/>
        </p:xfrm>
        <a:graphic>
          <a:graphicData uri="http://schemas.openxmlformats.org/drawingml/2006/table">
            <a:tbl>
              <a:tblPr/>
              <a:tblGrid>
                <a:gridCol w="1824541">
                  <a:extLst>
                    <a:ext uri="{9D8B030D-6E8A-4147-A177-3AD203B41FA5}">
                      <a16:colId xmlns:a16="http://schemas.microsoft.com/office/drawing/2014/main" val="1148265902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04192688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3435450551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99226043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4284417179"/>
                    </a:ext>
                  </a:extLst>
                </a:gridCol>
                <a:gridCol w="851516">
                  <a:extLst>
                    <a:ext uri="{9D8B030D-6E8A-4147-A177-3AD203B41FA5}">
                      <a16:colId xmlns:a16="http://schemas.microsoft.com/office/drawing/2014/main" val="2816467559"/>
                    </a:ext>
                  </a:extLst>
                </a:gridCol>
              </a:tblGrid>
              <a:tr h="37468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1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11.–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2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046296"/>
                  </a:ext>
                </a:extLst>
              </a:tr>
              <a:tr h="566194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(počet ohnisek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1068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(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916820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58992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96241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05685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830543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0454374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1852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15366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234257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74797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5643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(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226851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230428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(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763526"/>
                  </a:ext>
                </a:extLst>
              </a:tr>
              <a:tr h="290917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8000" marR="1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 (1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(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(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(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2656254"/>
                  </a:ext>
                </a:extLst>
              </a:tr>
            </a:tbl>
          </a:graphicData>
        </a:graphic>
      </p:graphicFrame>
      <p:graphicFrame>
        <p:nvGraphicFramePr>
          <p:cNvPr id="20" name="Graf 12">
            <a:extLst>
              <a:ext uri="{FF2B5EF4-FFF2-40B4-BE49-F238E27FC236}">
                <a16:creationId xmlns:a16="http://schemas.microsoft.com/office/drawing/2014/main" id="{EA20B1AB-DE43-4B7C-AE0D-6A5E7DBD0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3941359"/>
              </p:ext>
            </p:extLst>
          </p:nvPr>
        </p:nvGraphicFramePr>
        <p:xfrm>
          <a:off x="6909431" y="1381848"/>
          <a:ext cx="5125274" cy="4161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Obdélník 13">
            <a:extLst>
              <a:ext uri="{FF2B5EF4-FFF2-40B4-BE49-F238E27FC236}">
                <a16:creationId xmlns:a16="http://schemas.microsoft.com/office/drawing/2014/main" id="{A12C1C2B-BD3A-4305-A1C6-09ECF2E29611}"/>
              </a:ext>
            </a:extLst>
          </p:cNvPr>
          <p:cNvSpPr/>
          <p:nvPr/>
        </p:nvSpPr>
        <p:spPr>
          <a:xfrm>
            <a:off x="6909431" y="1086315"/>
            <a:ext cx="49077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</a:rPr>
              <a:t>Počet zařazených osob</a:t>
            </a:r>
          </a:p>
        </p:txBody>
      </p:sp>
      <p:graphicFrame>
        <p:nvGraphicFramePr>
          <p:cNvPr id="22" name="Tabulka 14">
            <a:extLst>
              <a:ext uri="{FF2B5EF4-FFF2-40B4-BE49-F238E27FC236}">
                <a16:creationId xmlns:a16="http://schemas.microsoft.com/office/drawing/2014/main" id="{183D5F84-1757-499F-A478-BF43D84BD07D}"/>
              </a:ext>
            </a:extLst>
          </p:cNvPr>
          <p:cNvGraphicFramePr>
            <a:graphicFrameLocks noGrp="1"/>
          </p:cNvGraphicFramePr>
          <p:nvPr/>
        </p:nvGraphicFramePr>
        <p:xfrm>
          <a:off x="6438900" y="5556199"/>
          <a:ext cx="5478568" cy="853440"/>
        </p:xfrm>
        <a:graphic>
          <a:graphicData uri="http://schemas.openxmlformats.org/drawingml/2006/table">
            <a:tbl>
              <a:tblPr/>
              <a:tblGrid>
                <a:gridCol w="921848">
                  <a:extLst>
                    <a:ext uri="{9D8B030D-6E8A-4147-A177-3AD203B41FA5}">
                      <a16:colId xmlns:a16="http://schemas.microsoft.com/office/drawing/2014/main" val="135824801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27063480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235552383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4039418599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71778667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197838562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84251675"/>
                    </a:ext>
                  </a:extLst>
                </a:gridCol>
                <a:gridCol w="650960">
                  <a:extLst>
                    <a:ext uri="{9D8B030D-6E8A-4147-A177-3AD203B41FA5}">
                      <a16:colId xmlns:a16="http://schemas.microsoft.com/office/drawing/2014/main" val="862320679"/>
                    </a:ext>
                  </a:extLst>
                </a:gridCol>
              </a:tblGrid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</a:t>
                      </a:r>
                      <a:r>
                        <a:rPr lang="cs-CZ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hnisek</a:t>
                      </a:r>
                      <a:r>
                        <a:rPr lang="cs-CZ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4403526"/>
                  </a:ext>
                </a:extLst>
              </a:tr>
              <a:tr h="11865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sob na ohnisko:</a:t>
                      </a:r>
                    </a:p>
                  </a:txBody>
                  <a:tcPr marL="9525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955740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3BAE1A52-4750-4BC3-912D-70154DAF6174}"/>
              </a:ext>
            </a:extLst>
          </p:cNvPr>
          <p:cNvSpPr/>
          <p:nvPr/>
        </p:nvSpPr>
        <p:spPr>
          <a:xfrm>
            <a:off x="10359541" y="1607162"/>
            <a:ext cx="15579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 předběžné údaje</a:t>
            </a:r>
            <a:endParaRPr lang="cs-CZ" sz="1400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20CE13C-8026-45B6-BDF5-CAEF0DC0608D}"/>
              </a:ext>
            </a:extLst>
          </p:cNvPr>
          <p:cNvSpPr/>
          <p:nvPr/>
        </p:nvSpPr>
        <p:spPr>
          <a:xfrm>
            <a:off x="10417329" y="3456793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515B5475-423B-4202-A225-095C6040464C}"/>
              </a:ext>
            </a:extLst>
          </p:cNvPr>
          <p:cNvSpPr/>
          <p:nvPr/>
        </p:nvSpPr>
        <p:spPr>
          <a:xfrm>
            <a:off x="10417329" y="5856835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D036907E-4A47-4792-B2DB-628CFFE084EE}"/>
              </a:ext>
            </a:extLst>
          </p:cNvPr>
          <p:cNvSpPr/>
          <p:nvPr/>
        </p:nvSpPr>
        <p:spPr>
          <a:xfrm>
            <a:off x="3699466" y="1185499"/>
            <a:ext cx="2744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*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75565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. 11. – 15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8667768"/>
              </p:ext>
            </p:extLst>
          </p:nvPr>
        </p:nvGraphicFramePr>
        <p:xfrm>
          <a:off x="1372685" y="1009673"/>
          <a:ext cx="9684753" cy="55031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0868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Rožmitál p. Třemšíne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DN Oblouková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um služeb pro seniory Kyjov, p.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 Home Libeň, Praha 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Korýtko, příspěvková organiz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NA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Hluboká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Světl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atie Chráněné bydlen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Cura SeniorCentrum Tel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IR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rč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heimercentrum  Zlosy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492397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-komplex Lužec nad Vltavo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9033785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- SC Malá Čermná I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817490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Komár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0267598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rý klíč o.p.s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80781992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Rybalkova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38468394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Slan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5999739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ům Naděje, K Prádelně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0392050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od Hrází Pečičk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55810615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Chod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088221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ZP Marianska 4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5508506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ální služby Semily,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21889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konie ČCE Sobotí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9928349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Malešice, Praha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4549633"/>
                  </a:ext>
                </a:extLst>
              </a:tr>
              <a:tr h="1960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Nová Slunečni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765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1">
            <a:extLst>
              <a:ext uri="{FF2B5EF4-FFF2-40B4-BE49-F238E27FC236}">
                <a16:creationId xmlns:a16="http://schemas.microsoft.com/office/drawing/2014/main" id="{5911BC55-ED37-446C-A333-6D03E3A18650}"/>
              </a:ext>
            </a:extLst>
          </p:cNvPr>
          <p:cNvSpPr/>
          <p:nvPr/>
        </p:nvSpPr>
        <p:spPr>
          <a:xfrm>
            <a:off x="90905" y="6512838"/>
            <a:ext cx="77946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ozornění: mezi pozitivními osobami jsou započteni jak pracovníci tak klienti zařízení sociálních služeb.</a:t>
            </a:r>
          </a:p>
        </p:txBody>
      </p:sp>
      <p:sp>
        <p:nvSpPr>
          <p:cNvPr id="17" name="Obdélník 13">
            <a:extLst>
              <a:ext uri="{FF2B5EF4-FFF2-40B4-BE49-F238E27FC236}">
                <a16:creationId xmlns:a16="http://schemas.microsoft.com/office/drawing/2014/main" id="{7D143CDF-A647-4BC2-8AA1-54808788CC93}"/>
              </a:ext>
            </a:extLst>
          </p:cNvPr>
          <p:cNvSpPr/>
          <p:nvPr/>
        </p:nvSpPr>
        <p:spPr>
          <a:xfrm>
            <a:off x="485775" y="609563"/>
            <a:ext cx="11458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řehled nových ohnisek za období 16. 11. – 26. 11. 2021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2431848-192E-4F04-A0BC-102B082D0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92" y="16373"/>
            <a:ext cx="7435177" cy="576000"/>
          </a:xfrm>
        </p:spPr>
        <p:txBody>
          <a:bodyPr>
            <a:noAutofit/>
          </a:bodyPr>
          <a:lstStyle/>
          <a:p>
            <a:r>
              <a:rPr lang="cs-CZ" dirty="0"/>
              <a:t>Zařízení sociálních služeb jako ohniska nákazy COVID-1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F70C8D4-8774-4E44-8C03-00FA24FACFDA}"/>
              </a:ext>
            </a:extLst>
          </p:cNvPr>
          <p:cNvSpPr txBox="1"/>
          <p:nvPr/>
        </p:nvSpPr>
        <p:spPr>
          <a:xfrm>
            <a:off x="8283389" y="6516527"/>
            <a:ext cx="3810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Události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26. 11. 2021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FF2C759-F814-4407-BA8B-625101FFE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6503402"/>
              </p:ext>
            </p:extLst>
          </p:nvPr>
        </p:nvGraphicFramePr>
        <p:xfrm>
          <a:off x="1372685" y="1009673"/>
          <a:ext cx="9684753" cy="339087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33010">
                  <a:extLst>
                    <a:ext uri="{9D8B030D-6E8A-4147-A177-3AD203B41FA5}">
                      <a16:colId xmlns:a16="http://schemas.microsoft.com/office/drawing/2014/main" val="2119397507"/>
                    </a:ext>
                  </a:extLst>
                </a:gridCol>
                <a:gridCol w="1867785">
                  <a:extLst>
                    <a:ext uri="{9D8B030D-6E8A-4147-A177-3AD203B41FA5}">
                      <a16:colId xmlns:a16="http://schemas.microsoft.com/office/drawing/2014/main" val="1088784517"/>
                    </a:ext>
                  </a:extLst>
                </a:gridCol>
                <a:gridCol w="4325938">
                  <a:extLst>
                    <a:ext uri="{9D8B030D-6E8A-4147-A177-3AD203B41FA5}">
                      <a16:colId xmlns:a16="http://schemas.microsoft.com/office/drawing/2014/main" val="2548712498"/>
                    </a:ext>
                  </a:extLst>
                </a:gridCol>
                <a:gridCol w="1858020">
                  <a:extLst>
                    <a:ext uri="{9D8B030D-6E8A-4147-A177-3AD203B41FA5}">
                      <a16:colId xmlns:a16="http://schemas.microsoft.com/office/drawing/2014/main" val="4271171716"/>
                    </a:ext>
                  </a:extLst>
                </a:gridCol>
              </a:tblGrid>
              <a:tr h="25658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atum</a:t>
                      </a:r>
                      <a:endParaRPr lang="cs-CZ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Kraj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Název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>
                          <a:effectLst/>
                        </a:rPr>
                        <a:t>Počet nakažených</a:t>
                      </a:r>
                      <a:endParaRPr lang="cs-CZ" sz="12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0" marB="0" anchor="b"/>
                </a:tc>
                <a:extLst>
                  <a:ext uri="{0D108BD9-81ED-4DB2-BD59-A6C34878D82A}">
                    <a16:rowId xmlns:a16="http://schemas.microsoft.com/office/drawing/2014/main" val="2657920823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Libnič a Centrum sociálních služeb Empati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53417360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Dědina Opočn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2467870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D Reynko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730867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pro seniory SEN pro SEN Javorník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0939576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Černovice - Lidmaň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2887529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P Rychnov 5 - S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22747539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iatrické centrum Týniště nad Orlic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3868139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OP Praha 15, DPS Janovsk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47237985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ZEIMER HOME Ostrov - K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79742434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 Habrov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0010272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ZR Centrin Unhošť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9363377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S Pilníkov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61807022"/>
                  </a:ext>
                </a:extLst>
              </a:tr>
              <a:tr h="24109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1.2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ov ve Věž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9570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010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67A564D-817A-482D-8BCC-FCE2C6283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9479" y="2503487"/>
            <a:ext cx="10630969" cy="1189622"/>
          </a:xfrm>
        </p:spPr>
        <p:txBody>
          <a:bodyPr/>
          <a:lstStyle/>
          <a:p>
            <a:r>
              <a:rPr lang="cs-CZ" dirty="0"/>
              <a:t>Datová a informační základna </a:t>
            </a:r>
            <a:br>
              <a:rPr lang="cs-CZ" dirty="0"/>
            </a:br>
            <a:r>
              <a:rPr lang="cs-CZ" dirty="0"/>
              <a:t>pro management pandemie COVID-19</a:t>
            </a:r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ECB71022-B988-48D8-A571-213CB90D2BB5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1075944" y="3790246"/>
            <a:ext cx="9869424" cy="1564690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C00000"/>
                </a:solidFill>
              </a:rPr>
              <a:t>Nákaza COVID-19 v zařízeních </a:t>
            </a:r>
          </a:p>
          <a:p>
            <a:r>
              <a:rPr lang="cs-CZ" sz="3600" b="1" dirty="0">
                <a:solidFill>
                  <a:srgbClr val="C00000"/>
                </a:solidFill>
              </a:rPr>
              <a:t>sociálních služeb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3608199" y="5354936"/>
            <a:ext cx="480491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ě hlášené případy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18744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7897</TotalTime>
  <Words>10472</Words>
  <Application>Microsoft Office PowerPoint</Application>
  <PresentationFormat>Širokoúhlá obrazovka</PresentationFormat>
  <Paragraphs>4645</Paragraphs>
  <Slides>44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44</vt:i4>
      </vt:variant>
    </vt:vector>
  </HeadingPairs>
  <TitlesOfParts>
    <vt:vector size="48" baseType="lpstr">
      <vt:lpstr>Arial</vt:lpstr>
      <vt:lpstr>Calibri</vt:lpstr>
      <vt:lpstr>Roboto</vt:lpstr>
      <vt:lpstr>Motiv Office</vt:lpstr>
      <vt:lpstr>Datová a informační základna  pro management pandemie COVID-19</vt:lpstr>
      <vt:lpstr>Úvod – zdroje dat a koncepce analýz </vt:lpstr>
      <vt:lpstr>Prezentace aplikace PowerPoint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Datová a informační základna  pro management pandemie COVID-19</vt:lpstr>
      <vt:lpstr>Prezentace aplikace PowerPoint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Souhrn situace v sociálních zařízeních pobytových služeb </vt:lpstr>
      <vt:lpstr>Počet nově pozitivních klientů v sociálních službách</vt:lpstr>
      <vt:lpstr>Počet nově pozitivních pracovníků v sociálních službách</vt:lpstr>
      <vt:lpstr>Počet nově pozitivních osob v sociálních službách</vt:lpstr>
      <vt:lpstr>Počet nově pozitivních pracovníků a klientů v sociálních službách</vt:lpstr>
      <vt:lpstr>Počet zemřelých klientů v sociálních službách</vt:lpstr>
      <vt:lpstr>Počet zemřelých klientů a pracovníků v sociálních službách</vt:lpstr>
      <vt:lpstr>Klienti a pracovníci v sociálních službách vyžadující hospitalizaci z důvodu COVID-19</vt:lpstr>
      <vt:lpstr>Klienti a pracovníci v sociálních službách s těžkým průběhem nemoci</vt:lpstr>
      <vt:lpstr>Datová a informační základna  pro management pandemie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Zařízení sociálních služeb jako ohniska nákazy COVID-19</vt:lpstr>
      <vt:lpstr>Události řešené od 1. října 2020 – celá ČR</vt:lpstr>
      <vt:lpstr>Události řešené od 1. ledna 2021 – celá Č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Dušek Ladislav prof. RNDr. Ph.D.</cp:lastModifiedBy>
  <cp:revision>491</cp:revision>
  <dcterms:created xsi:type="dcterms:W3CDTF">2020-11-14T10:09:00Z</dcterms:created>
  <dcterms:modified xsi:type="dcterms:W3CDTF">2021-11-28T16:48:42Z</dcterms:modified>
</cp:coreProperties>
</file>